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9"/>
  </p:notesMasterIdLst>
  <p:handoutMasterIdLst>
    <p:handoutMasterId r:id="rId10"/>
  </p:handoutMasterIdLst>
  <p:sldIdLst>
    <p:sldId id="440" r:id="rId5"/>
    <p:sldId id="256" r:id="rId6"/>
    <p:sldId id="441" r:id="rId7"/>
    <p:sldId id="436" r:id="rId8"/>
  </p:sldIdLst>
  <p:sldSz cx="9144000" cy="5143500" type="screen16x9"/>
  <p:notesSz cx="6858000" cy="9144000"/>
  <p:custDataLst>
    <p:tags r:id="rId1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orient="horz" pos="32">
          <p15:clr>
            <a:srgbClr val="A4A3A4"/>
          </p15:clr>
        </p15:guide>
        <p15:guide id="3" orient="horz" pos="100">
          <p15:clr>
            <a:srgbClr val="A4A3A4"/>
          </p15:clr>
        </p15:guide>
        <p15:guide id="4" orient="horz" pos="463">
          <p15:clr>
            <a:srgbClr val="A4A3A4"/>
          </p15:clr>
        </p15:guide>
        <p15:guide id="5" orient="horz" pos="2981">
          <p15:clr>
            <a:srgbClr val="A4A3A4"/>
          </p15:clr>
        </p15:guide>
        <p15:guide id="6" orient="horz" pos="3003">
          <p15:clr>
            <a:srgbClr val="A4A3A4"/>
          </p15:clr>
        </p15:guide>
        <p15:guide id="7" orient="horz" pos="3117">
          <p15:clr>
            <a:srgbClr val="A4A3A4"/>
          </p15:clr>
        </p15:guide>
        <p15:guide id="8" orient="horz" pos="577">
          <p15:clr>
            <a:srgbClr val="A4A3A4"/>
          </p15:clr>
        </p15:guide>
        <p15:guide id="9" orient="horz" pos="2890">
          <p15:clr>
            <a:srgbClr val="A4A3A4"/>
          </p15:clr>
        </p15:guide>
        <p15:guide id="10" pos="295">
          <p15:clr>
            <a:srgbClr val="A4A3A4"/>
          </p15:clr>
        </p15:guide>
        <p15:guide id="11" pos="5602">
          <p15:clr>
            <a:srgbClr val="A4A3A4"/>
          </p15:clr>
        </p15:guide>
        <p15:guide id="12" pos="2880">
          <p15:clr>
            <a:srgbClr val="A4A3A4"/>
          </p15:clr>
        </p15:guide>
        <p15:guide id="13" pos="4830">
          <p15:clr>
            <a:srgbClr val="A4A3A4"/>
          </p15:clr>
        </p15:guide>
        <p15:guide id="14" pos="2767">
          <p15:clr>
            <a:srgbClr val="A4A3A4"/>
          </p15:clr>
        </p15:guide>
        <p15:guide id="15" pos="2993">
          <p15:clr>
            <a:srgbClr val="A4A3A4"/>
          </p15:clr>
        </p15:guide>
        <p15:guide id="16" pos="5511">
          <p15:clr>
            <a:srgbClr val="A4A3A4"/>
          </p15:clr>
        </p15:guide>
        <p15:guide id="17" orient="horz" pos="1439">
          <p15:clr>
            <a:srgbClr val="A4A3A4"/>
          </p15:clr>
        </p15:guide>
        <p15:guide id="18" pos="2744">
          <p15:clr>
            <a:srgbClr val="A4A3A4"/>
          </p15:clr>
        </p15:guide>
        <p15:guide id="19" pos="297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F98A6"/>
    <a:srgbClr val="737373"/>
    <a:srgbClr val="4C5861"/>
    <a:srgbClr val="1F2326"/>
    <a:srgbClr val="5E6C77"/>
    <a:srgbClr val="4DC1CB"/>
    <a:srgbClr val="394249"/>
    <a:srgbClr val="788691"/>
    <a:srgbClr val="340000"/>
    <a:srgbClr val="88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2418A3-ADC5-BF4A-ABEE-61CC6A10EE15}" v="47" dt="2020-12-02T12:34:00.95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>
    <p:restoredLeft sz="5854" autoAdjust="0"/>
    <p:restoredTop sz="96197" autoAdjust="0"/>
  </p:normalViewPr>
  <p:slideViewPr>
    <p:cSldViewPr snapToObjects="1">
      <p:cViewPr varScale="1">
        <p:scale>
          <a:sx n="152" d="100"/>
          <a:sy n="152" d="100"/>
        </p:scale>
        <p:origin x="1288" y="192"/>
      </p:cViewPr>
      <p:guideLst>
        <p:guide orient="horz" pos="1620"/>
        <p:guide orient="horz" pos="32"/>
        <p:guide orient="horz" pos="100"/>
        <p:guide orient="horz" pos="463"/>
        <p:guide orient="horz" pos="2981"/>
        <p:guide orient="horz" pos="3003"/>
        <p:guide orient="horz" pos="3117"/>
        <p:guide orient="horz" pos="577"/>
        <p:guide orient="horz" pos="2890"/>
        <p:guide pos="295"/>
        <p:guide pos="5602"/>
        <p:guide pos="2880"/>
        <p:guide pos="4830"/>
        <p:guide pos="2767"/>
        <p:guide pos="2993"/>
        <p:guide pos="5511"/>
        <p:guide orient="horz" pos="1439"/>
        <p:guide pos="2744"/>
        <p:guide pos="297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39" d="100"/>
        <a:sy n="139" d="100"/>
      </p:scale>
      <p:origin x="0" y="0"/>
    </p:cViewPr>
  </p:sorterViewPr>
  <p:notesViewPr>
    <p:cSldViewPr snapToObjects="1">
      <p:cViewPr varScale="1">
        <p:scale>
          <a:sx n="93" d="100"/>
          <a:sy n="93" d="100"/>
        </p:scale>
        <p:origin x="3784" y="2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ristopher Schulz" userId="c7a37fbc-fc18-47fa-bc4e-1f96df76f530" providerId="ADAL" clId="{5A696046-BDB4-DB47-BFBC-8F2794AD06FC}"/>
    <pc:docChg chg="addSld delSld modSld modMainMaster">
      <pc:chgData name="Christopher Schulz" userId="c7a37fbc-fc18-47fa-bc4e-1f96df76f530" providerId="ADAL" clId="{5A696046-BDB4-DB47-BFBC-8F2794AD06FC}" dt="2019-08-10T10:30:29.110" v="6" actId="207"/>
      <pc:docMkLst>
        <pc:docMk/>
      </pc:docMkLst>
      <pc:sldMasterChg chg="modSp modSldLayout">
        <pc:chgData name="Christopher Schulz" userId="c7a37fbc-fc18-47fa-bc4e-1f96df76f530" providerId="ADAL" clId="{5A696046-BDB4-DB47-BFBC-8F2794AD06FC}" dt="2019-08-10T10:30:29.110" v="6" actId="207"/>
        <pc:sldMasterMkLst>
          <pc:docMk/>
          <pc:sldMasterMk cId="0" sldId="2147483648"/>
        </pc:sldMasterMkLst>
        <pc:spChg chg="mod">
          <ac:chgData name="Christopher Schulz" userId="c7a37fbc-fc18-47fa-bc4e-1f96df76f530" providerId="ADAL" clId="{5A696046-BDB4-DB47-BFBC-8F2794AD06FC}" dt="2019-08-10T10:30:09.348" v="4" actId="207"/>
          <ac:spMkLst>
            <pc:docMk/>
            <pc:sldMasterMk cId="0" sldId="2147483648"/>
            <ac:spMk id="50" creationId="{42E84C75-39DA-45C3-8B21-2C2A2FA71D72}"/>
          </ac:spMkLst>
        </pc:spChg>
        <pc:spChg chg="mod">
          <ac:chgData name="Christopher Schulz" userId="c7a37fbc-fc18-47fa-bc4e-1f96df76f530" providerId="ADAL" clId="{5A696046-BDB4-DB47-BFBC-8F2794AD06FC}" dt="2019-08-10T10:30:02.541" v="3" actId="207"/>
          <ac:spMkLst>
            <pc:docMk/>
            <pc:sldMasterMk cId="0" sldId="2147483648"/>
            <ac:spMk id="73" creationId="{00000000-0000-0000-0000-000000000000}"/>
          </ac:spMkLst>
        </pc:spChg>
        <pc:sldLayoutChg chg="modSp">
          <pc:chgData name="Christopher Schulz" userId="c7a37fbc-fc18-47fa-bc4e-1f96df76f530" providerId="ADAL" clId="{5A696046-BDB4-DB47-BFBC-8F2794AD06FC}" dt="2019-08-10T10:30:29.110" v="6" actId="207"/>
          <pc:sldLayoutMkLst>
            <pc:docMk/>
            <pc:sldMasterMk cId="0" sldId="2147483648"/>
            <pc:sldLayoutMk cId="4121594000" sldId="2147483667"/>
          </pc:sldLayoutMkLst>
          <pc:spChg chg="mod">
            <ac:chgData name="Christopher Schulz" userId="c7a37fbc-fc18-47fa-bc4e-1f96df76f530" providerId="ADAL" clId="{5A696046-BDB4-DB47-BFBC-8F2794AD06FC}" dt="2019-08-10T10:30:29.110" v="6" actId="207"/>
            <ac:spMkLst>
              <pc:docMk/>
              <pc:sldMasterMk cId="0" sldId="2147483648"/>
              <pc:sldLayoutMk cId="4121594000" sldId="2147483667"/>
              <ac:spMk id="3" creationId="{00000000-0000-0000-0000-000000000000}"/>
            </ac:spMkLst>
          </pc:spChg>
        </pc:sldLayoutChg>
        <pc:sldLayoutChg chg="addSp">
          <pc:chgData name="Christopher Schulz" userId="c7a37fbc-fc18-47fa-bc4e-1f96df76f530" providerId="ADAL" clId="{5A696046-BDB4-DB47-BFBC-8F2794AD06FC}" dt="2019-08-10T10:17:00.597" v="0"/>
          <pc:sldLayoutMkLst>
            <pc:docMk/>
            <pc:sldMasterMk cId="0" sldId="2147483648"/>
            <pc:sldLayoutMk cId="921124016" sldId="2147483668"/>
          </pc:sldLayoutMkLst>
          <pc:picChg chg="add">
            <ac:chgData name="Christopher Schulz" userId="c7a37fbc-fc18-47fa-bc4e-1f96df76f530" providerId="ADAL" clId="{5A696046-BDB4-DB47-BFBC-8F2794AD06FC}" dt="2019-08-10T10:17:00.597" v="0"/>
            <ac:picMkLst>
              <pc:docMk/>
              <pc:sldMasterMk cId="0" sldId="2147483648"/>
              <pc:sldLayoutMk cId="921124016" sldId="2147483668"/>
              <ac:picMk id="6" creationId="{E25B0BB9-1CCD-FB4F-A0D7-42C445E632FE}"/>
            </ac:picMkLst>
          </pc:picChg>
        </pc:sldLayoutChg>
      </pc:sldMasterChg>
    </pc:docChg>
  </pc:docChgLst>
  <pc:docChgLst>
    <pc:chgData name="Christopher Schulz" userId="c7a37fbc-fc18-47fa-bc4e-1f96df76f530" providerId="ADAL" clId="{D7F914C0-A41A-D140-BD42-2AE8ADED66B5}"/>
    <pc:docChg chg="undo custSel addSld delSld modSld delMainMaster">
      <pc:chgData name="Christopher Schulz" userId="c7a37fbc-fc18-47fa-bc4e-1f96df76f530" providerId="ADAL" clId="{D7F914C0-A41A-D140-BD42-2AE8ADED66B5}" dt="2020-02-18T06:01:24.551" v="1019" actId="478"/>
      <pc:docMkLst>
        <pc:docMk/>
      </pc:docMkLst>
      <pc:sldChg chg="addSp delSp modSp">
        <pc:chgData name="Christopher Schulz" userId="c7a37fbc-fc18-47fa-bc4e-1f96df76f530" providerId="ADAL" clId="{D7F914C0-A41A-D140-BD42-2AE8ADED66B5}" dt="2020-02-18T06:01:13.395" v="1018" actId="1076"/>
        <pc:sldMkLst>
          <pc:docMk/>
          <pc:sldMk cId="3168066364" sldId="256"/>
        </pc:sldMkLst>
        <pc:spChg chg="mod">
          <ac:chgData name="Christopher Schulz" userId="c7a37fbc-fc18-47fa-bc4e-1f96df76f530" providerId="ADAL" clId="{D7F914C0-A41A-D140-BD42-2AE8ADED66B5}" dt="2020-02-17T20:57:33.362" v="756" actId="20577"/>
          <ac:spMkLst>
            <pc:docMk/>
            <pc:sldMk cId="3168066364" sldId="256"/>
            <ac:spMk id="2" creationId="{D68C5A50-1913-4507-988E-B3319E45906C}"/>
          </ac:spMkLst>
        </pc:spChg>
        <pc:spChg chg="mod">
          <ac:chgData name="Christopher Schulz" userId="c7a37fbc-fc18-47fa-bc4e-1f96df76f530" providerId="ADAL" clId="{D7F914C0-A41A-D140-BD42-2AE8ADED66B5}" dt="2020-02-17T21:02:49.338" v="801" actId="20577"/>
          <ac:spMkLst>
            <pc:docMk/>
            <pc:sldMk cId="3168066364" sldId="256"/>
            <ac:spMk id="3" creationId="{5F0B0340-28DE-4C04-BA5A-1EB9C2F0782D}"/>
          </ac:spMkLst>
        </pc:spChg>
        <pc:spChg chg="add del">
          <ac:chgData name="Christopher Schulz" userId="c7a37fbc-fc18-47fa-bc4e-1f96df76f530" providerId="ADAL" clId="{D7F914C0-A41A-D140-BD42-2AE8ADED66B5}" dt="2020-02-17T20:47:05.934" v="514" actId="478"/>
          <ac:spMkLst>
            <pc:docMk/>
            <pc:sldMk cId="3168066364" sldId="256"/>
            <ac:spMk id="4" creationId="{EBA4A055-C615-2444-9C59-062382808570}"/>
          </ac:spMkLst>
        </pc:spChg>
        <pc:spChg chg="del">
          <ac:chgData name="Christopher Schulz" userId="c7a37fbc-fc18-47fa-bc4e-1f96df76f530" providerId="ADAL" clId="{D7F914C0-A41A-D140-BD42-2AE8ADED66B5}" dt="2020-02-17T20:47:05.934" v="514" actId="478"/>
          <ac:spMkLst>
            <pc:docMk/>
            <pc:sldMk cId="3168066364" sldId="256"/>
            <ac:spMk id="9" creationId="{2CFC355E-1952-E84D-BA17-53C79032133E}"/>
          </ac:spMkLst>
        </pc:spChg>
        <pc:spChg chg="add del">
          <ac:chgData name="Christopher Schulz" userId="c7a37fbc-fc18-47fa-bc4e-1f96df76f530" providerId="ADAL" clId="{D7F914C0-A41A-D140-BD42-2AE8ADED66B5}" dt="2020-02-17T20:47:05.934" v="514" actId="478"/>
          <ac:spMkLst>
            <pc:docMk/>
            <pc:sldMk cId="3168066364" sldId="256"/>
            <ac:spMk id="11" creationId="{525ECC90-7F91-6F43-81FF-C86B4F03525F}"/>
          </ac:spMkLst>
        </pc:spChg>
        <pc:spChg chg="add del">
          <ac:chgData name="Christopher Schulz" userId="c7a37fbc-fc18-47fa-bc4e-1f96df76f530" providerId="ADAL" clId="{D7F914C0-A41A-D140-BD42-2AE8ADED66B5}" dt="2020-02-17T20:47:05.934" v="514" actId="478"/>
          <ac:spMkLst>
            <pc:docMk/>
            <pc:sldMk cId="3168066364" sldId="256"/>
            <ac:spMk id="12" creationId="{7C3701C7-6723-5F40-B891-CB0B03C32712}"/>
          </ac:spMkLst>
        </pc:spChg>
        <pc:spChg chg="add del">
          <ac:chgData name="Christopher Schulz" userId="c7a37fbc-fc18-47fa-bc4e-1f96df76f530" providerId="ADAL" clId="{D7F914C0-A41A-D140-BD42-2AE8ADED66B5}" dt="2020-02-17T20:47:05.934" v="514" actId="478"/>
          <ac:spMkLst>
            <pc:docMk/>
            <pc:sldMk cId="3168066364" sldId="256"/>
            <ac:spMk id="20" creationId="{3B447BF1-B6C2-4548-909F-A281C6E6FC34}"/>
          </ac:spMkLst>
        </pc:spChg>
        <pc:spChg chg="add del">
          <ac:chgData name="Christopher Schulz" userId="c7a37fbc-fc18-47fa-bc4e-1f96df76f530" providerId="ADAL" clId="{D7F914C0-A41A-D140-BD42-2AE8ADED66B5}" dt="2020-02-17T20:47:05.934" v="514" actId="478"/>
          <ac:spMkLst>
            <pc:docMk/>
            <pc:sldMk cId="3168066364" sldId="256"/>
            <ac:spMk id="24" creationId="{F469DF17-2AF0-AF40-91B7-08D6816BC626}"/>
          </ac:spMkLst>
        </pc:spChg>
        <pc:spChg chg="add del">
          <ac:chgData name="Christopher Schulz" userId="c7a37fbc-fc18-47fa-bc4e-1f96df76f530" providerId="ADAL" clId="{D7F914C0-A41A-D140-BD42-2AE8ADED66B5}" dt="2020-02-17T20:47:47.981" v="516"/>
          <ac:spMkLst>
            <pc:docMk/>
            <pc:sldMk cId="3168066364" sldId="256"/>
            <ac:spMk id="29" creationId="{D4B14E52-546D-414B-BD8D-55EA712A49EA}"/>
          </ac:spMkLst>
        </pc:spChg>
        <pc:spChg chg="add del">
          <ac:chgData name="Christopher Schulz" userId="c7a37fbc-fc18-47fa-bc4e-1f96df76f530" providerId="ADAL" clId="{D7F914C0-A41A-D140-BD42-2AE8ADED66B5}" dt="2020-02-17T20:47:47.981" v="516"/>
          <ac:spMkLst>
            <pc:docMk/>
            <pc:sldMk cId="3168066364" sldId="256"/>
            <ac:spMk id="30" creationId="{C2C7A234-44C8-8D4B-A6F5-B87FB217A84F}"/>
          </ac:spMkLst>
        </pc:spChg>
        <pc:spChg chg="add del">
          <ac:chgData name="Christopher Schulz" userId="c7a37fbc-fc18-47fa-bc4e-1f96df76f530" providerId="ADAL" clId="{D7F914C0-A41A-D140-BD42-2AE8ADED66B5}" dt="2020-02-17T20:47:47.981" v="516"/>
          <ac:spMkLst>
            <pc:docMk/>
            <pc:sldMk cId="3168066364" sldId="256"/>
            <ac:spMk id="31" creationId="{46BAF8D3-F0FA-FC49-9ABC-763AE2F5D3FF}"/>
          </ac:spMkLst>
        </pc:spChg>
        <pc:spChg chg="add del">
          <ac:chgData name="Christopher Schulz" userId="c7a37fbc-fc18-47fa-bc4e-1f96df76f530" providerId="ADAL" clId="{D7F914C0-A41A-D140-BD42-2AE8ADED66B5}" dt="2020-02-17T20:47:47.981" v="516"/>
          <ac:spMkLst>
            <pc:docMk/>
            <pc:sldMk cId="3168066364" sldId="256"/>
            <ac:spMk id="32" creationId="{103A2EDF-CA30-CB4F-B0AE-A8540522D2BA}"/>
          </ac:spMkLst>
        </pc:spChg>
        <pc:spChg chg="add del">
          <ac:chgData name="Christopher Schulz" userId="c7a37fbc-fc18-47fa-bc4e-1f96df76f530" providerId="ADAL" clId="{D7F914C0-A41A-D140-BD42-2AE8ADED66B5}" dt="2020-02-17T20:47:47.981" v="516"/>
          <ac:spMkLst>
            <pc:docMk/>
            <pc:sldMk cId="3168066364" sldId="256"/>
            <ac:spMk id="33" creationId="{0FEC3EC9-F5FD-5F43-96B0-04FD081BD1EB}"/>
          </ac:spMkLst>
        </pc:spChg>
        <pc:spChg chg="add del">
          <ac:chgData name="Christopher Schulz" userId="c7a37fbc-fc18-47fa-bc4e-1f96df76f530" providerId="ADAL" clId="{D7F914C0-A41A-D140-BD42-2AE8ADED66B5}" dt="2020-02-17T20:47:47.981" v="516"/>
          <ac:spMkLst>
            <pc:docMk/>
            <pc:sldMk cId="3168066364" sldId="256"/>
            <ac:spMk id="34" creationId="{36CEC529-94E9-CE46-AD17-D99120ECD169}"/>
          </ac:spMkLst>
        </pc:spChg>
        <pc:spChg chg="add del">
          <ac:chgData name="Christopher Schulz" userId="c7a37fbc-fc18-47fa-bc4e-1f96df76f530" providerId="ADAL" clId="{D7F914C0-A41A-D140-BD42-2AE8ADED66B5}" dt="2020-02-17T20:47:47.981" v="516"/>
          <ac:spMkLst>
            <pc:docMk/>
            <pc:sldMk cId="3168066364" sldId="256"/>
            <ac:spMk id="35" creationId="{591782B2-A35E-7B49-8B3C-3AC5FF042A45}"/>
          </ac:spMkLst>
        </pc:spChg>
        <pc:spChg chg="add del">
          <ac:chgData name="Christopher Schulz" userId="c7a37fbc-fc18-47fa-bc4e-1f96df76f530" providerId="ADAL" clId="{D7F914C0-A41A-D140-BD42-2AE8ADED66B5}" dt="2020-02-17T20:47:47.981" v="516"/>
          <ac:spMkLst>
            <pc:docMk/>
            <pc:sldMk cId="3168066364" sldId="256"/>
            <ac:spMk id="36" creationId="{3F5CBF22-6A5C-DE4C-BC10-28036F547073}"/>
          </ac:spMkLst>
        </pc:spChg>
        <pc:spChg chg="add del">
          <ac:chgData name="Christopher Schulz" userId="c7a37fbc-fc18-47fa-bc4e-1f96df76f530" providerId="ADAL" clId="{D7F914C0-A41A-D140-BD42-2AE8ADED66B5}" dt="2020-02-17T20:47:47.981" v="516"/>
          <ac:spMkLst>
            <pc:docMk/>
            <pc:sldMk cId="3168066364" sldId="256"/>
            <ac:spMk id="37" creationId="{C994CDDC-904A-BD4B-A18F-AA1207118341}"/>
          </ac:spMkLst>
        </pc:spChg>
        <pc:spChg chg="add del">
          <ac:chgData name="Christopher Schulz" userId="c7a37fbc-fc18-47fa-bc4e-1f96df76f530" providerId="ADAL" clId="{D7F914C0-A41A-D140-BD42-2AE8ADED66B5}" dt="2020-02-17T20:47:47.981" v="516"/>
          <ac:spMkLst>
            <pc:docMk/>
            <pc:sldMk cId="3168066364" sldId="256"/>
            <ac:spMk id="38" creationId="{2EEF43E4-839D-9B4E-81E4-FBA1A7D1E4C5}"/>
          </ac:spMkLst>
        </pc:spChg>
        <pc:spChg chg="add del">
          <ac:chgData name="Christopher Schulz" userId="c7a37fbc-fc18-47fa-bc4e-1f96df76f530" providerId="ADAL" clId="{D7F914C0-A41A-D140-BD42-2AE8ADED66B5}" dt="2020-02-17T20:47:47.981" v="516"/>
          <ac:spMkLst>
            <pc:docMk/>
            <pc:sldMk cId="3168066364" sldId="256"/>
            <ac:spMk id="39" creationId="{DBE731F0-AD69-E44D-8CBE-981C72E29C67}"/>
          </ac:spMkLst>
        </pc:spChg>
        <pc:spChg chg="add del">
          <ac:chgData name="Christopher Schulz" userId="c7a37fbc-fc18-47fa-bc4e-1f96df76f530" providerId="ADAL" clId="{D7F914C0-A41A-D140-BD42-2AE8ADED66B5}" dt="2020-02-17T20:47:47.981" v="516"/>
          <ac:spMkLst>
            <pc:docMk/>
            <pc:sldMk cId="3168066364" sldId="256"/>
            <ac:spMk id="40" creationId="{8BD7E804-9262-C545-BC9C-6026500C65D1}"/>
          </ac:spMkLst>
        </pc:spChg>
        <pc:spChg chg="add del">
          <ac:chgData name="Christopher Schulz" userId="c7a37fbc-fc18-47fa-bc4e-1f96df76f530" providerId="ADAL" clId="{D7F914C0-A41A-D140-BD42-2AE8ADED66B5}" dt="2020-02-17T20:47:05.934" v="514" actId="478"/>
          <ac:spMkLst>
            <pc:docMk/>
            <pc:sldMk cId="3168066364" sldId="256"/>
            <ac:spMk id="47" creationId="{76579BF3-EB21-144E-8E9F-47C0CD03AF43}"/>
          </ac:spMkLst>
        </pc:spChg>
        <pc:spChg chg="add del">
          <ac:chgData name="Christopher Schulz" userId="c7a37fbc-fc18-47fa-bc4e-1f96df76f530" providerId="ADAL" clId="{D7F914C0-A41A-D140-BD42-2AE8ADED66B5}" dt="2020-02-17T20:47:05.934" v="514" actId="478"/>
          <ac:spMkLst>
            <pc:docMk/>
            <pc:sldMk cId="3168066364" sldId="256"/>
            <ac:spMk id="48" creationId="{089310DF-EB75-9F4D-8F3E-44D7BECDFF9A}"/>
          </ac:spMkLst>
        </pc:spChg>
        <pc:spChg chg="add del mod">
          <ac:chgData name="Christopher Schulz" userId="c7a37fbc-fc18-47fa-bc4e-1f96df76f530" providerId="ADAL" clId="{D7F914C0-A41A-D140-BD42-2AE8ADED66B5}" dt="2020-02-17T20:51:52.460" v="608" actId="478"/>
          <ac:spMkLst>
            <pc:docMk/>
            <pc:sldMk cId="3168066364" sldId="256"/>
            <ac:spMk id="50" creationId="{E86F862C-D10C-A145-8338-B16862E241CE}"/>
          </ac:spMkLst>
        </pc:spChg>
        <pc:spChg chg="add del mod">
          <ac:chgData name="Christopher Schulz" userId="c7a37fbc-fc18-47fa-bc4e-1f96df76f530" providerId="ADAL" clId="{D7F914C0-A41A-D140-BD42-2AE8ADED66B5}" dt="2020-02-17T20:57:54.575" v="760"/>
          <ac:spMkLst>
            <pc:docMk/>
            <pc:sldMk cId="3168066364" sldId="256"/>
            <ac:spMk id="51" creationId="{26C3267C-4FF1-904A-8D0E-6610B98045CB}"/>
          </ac:spMkLst>
        </pc:spChg>
        <pc:spChg chg="add del">
          <ac:chgData name="Christopher Schulz" userId="c7a37fbc-fc18-47fa-bc4e-1f96df76f530" providerId="ADAL" clId="{D7F914C0-A41A-D140-BD42-2AE8ADED66B5}" dt="2020-02-17T20:47:05.934" v="514" actId="478"/>
          <ac:spMkLst>
            <pc:docMk/>
            <pc:sldMk cId="3168066364" sldId="256"/>
            <ac:spMk id="52" creationId="{AAD92057-2808-7D45-91CF-78137E99BE07}"/>
          </ac:spMkLst>
        </pc:spChg>
        <pc:spChg chg="add mod">
          <ac:chgData name="Christopher Schulz" userId="c7a37fbc-fc18-47fa-bc4e-1f96df76f530" providerId="ADAL" clId="{D7F914C0-A41A-D140-BD42-2AE8ADED66B5}" dt="2020-02-17T21:03:10.093" v="802" actId="2711"/>
          <ac:spMkLst>
            <pc:docMk/>
            <pc:sldMk cId="3168066364" sldId="256"/>
            <ac:spMk id="53" creationId="{0D333FBC-7AA1-A448-A521-AD576F96D878}"/>
          </ac:spMkLst>
        </pc:spChg>
        <pc:spChg chg="add mod">
          <ac:chgData name="Christopher Schulz" userId="c7a37fbc-fc18-47fa-bc4e-1f96df76f530" providerId="ADAL" clId="{D7F914C0-A41A-D140-BD42-2AE8ADED66B5}" dt="2020-02-17T21:00:06.324" v="776" actId="1076"/>
          <ac:spMkLst>
            <pc:docMk/>
            <pc:sldMk cId="3168066364" sldId="256"/>
            <ac:spMk id="54" creationId="{E53354FD-A7ED-F741-90BC-3497A87A2154}"/>
          </ac:spMkLst>
        </pc:spChg>
        <pc:spChg chg="add del">
          <ac:chgData name="Christopher Schulz" userId="c7a37fbc-fc18-47fa-bc4e-1f96df76f530" providerId="ADAL" clId="{D7F914C0-A41A-D140-BD42-2AE8ADED66B5}" dt="2020-02-17T20:47:05.934" v="514" actId="478"/>
          <ac:spMkLst>
            <pc:docMk/>
            <pc:sldMk cId="3168066364" sldId="256"/>
            <ac:spMk id="55" creationId="{EB76A127-E6B2-FC40-A1E8-B7F7EB192480}"/>
          </ac:spMkLst>
        </pc:spChg>
        <pc:spChg chg="add del">
          <ac:chgData name="Christopher Schulz" userId="c7a37fbc-fc18-47fa-bc4e-1f96df76f530" providerId="ADAL" clId="{D7F914C0-A41A-D140-BD42-2AE8ADED66B5}" dt="2020-02-17T20:47:05.934" v="514" actId="478"/>
          <ac:spMkLst>
            <pc:docMk/>
            <pc:sldMk cId="3168066364" sldId="256"/>
            <ac:spMk id="56" creationId="{10D63E0A-4BE3-A147-A2CA-128028B6D9C3}"/>
          </ac:spMkLst>
        </pc:spChg>
        <pc:spChg chg="add del">
          <ac:chgData name="Christopher Schulz" userId="c7a37fbc-fc18-47fa-bc4e-1f96df76f530" providerId="ADAL" clId="{D7F914C0-A41A-D140-BD42-2AE8ADED66B5}" dt="2020-02-17T20:47:05.934" v="514" actId="478"/>
          <ac:spMkLst>
            <pc:docMk/>
            <pc:sldMk cId="3168066364" sldId="256"/>
            <ac:spMk id="57" creationId="{1B0EE509-73DD-6E49-8828-0A28D8365F73}"/>
          </ac:spMkLst>
        </pc:spChg>
        <pc:spChg chg="add del">
          <ac:chgData name="Christopher Schulz" userId="c7a37fbc-fc18-47fa-bc4e-1f96df76f530" providerId="ADAL" clId="{D7F914C0-A41A-D140-BD42-2AE8ADED66B5}" dt="2020-02-17T20:47:05.934" v="514" actId="478"/>
          <ac:spMkLst>
            <pc:docMk/>
            <pc:sldMk cId="3168066364" sldId="256"/>
            <ac:spMk id="58" creationId="{7B2020FF-33DE-E045-A93A-75BF2EBDBA32}"/>
          </ac:spMkLst>
        </pc:spChg>
        <pc:spChg chg="add mod">
          <ac:chgData name="Christopher Schulz" userId="c7a37fbc-fc18-47fa-bc4e-1f96df76f530" providerId="ADAL" clId="{D7F914C0-A41A-D140-BD42-2AE8ADED66B5}" dt="2020-02-17T21:03:10.093" v="802" actId="2711"/>
          <ac:spMkLst>
            <pc:docMk/>
            <pc:sldMk cId="3168066364" sldId="256"/>
            <ac:spMk id="59" creationId="{5F08C03D-6BF7-124E-BC37-F5B4330636A9}"/>
          </ac:spMkLst>
        </pc:spChg>
        <pc:spChg chg="add mod">
          <ac:chgData name="Christopher Schulz" userId="c7a37fbc-fc18-47fa-bc4e-1f96df76f530" providerId="ADAL" clId="{D7F914C0-A41A-D140-BD42-2AE8ADED66B5}" dt="2020-02-17T21:00:09.390" v="777" actId="1076"/>
          <ac:spMkLst>
            <pc:docMk/>
            <pc:sldMk cId="3168066364" sldId="256"/>
            <ac:spMk id="60" creationId="{FBEF7467-2272-8C42-A10A-0A45907C2AF1}"/>
          </ac:spMkLst>
        </pc:spChg>
        <pc:spChg chg="add mod">
          <ac:chgData name="Christopher Schulz" userId="c7a37fbc-fc18-47fa-bc4e-1f96df76f530" providerId="ADAL" clId="{D7F914C0-A41A-D140-BD42-2AE8ADED66B5}" dt="2020-02-17T21:03:10.093" v="802" actId="2711"/>
          <ac:spMkLst>
            <pc:docMk/>
            <pc:sldMk cId="3168066364" sldId="256"/>
            <ac:spMk id="61" creationId="{71C73527-1EEC-9C4B-9089-00F8C16AD414}"/>
          </ac:spMkLst>
        </pc:spChg>
        <pc:spChg chg="add mod">
          <ac:chgData name="Christopher Schulz" userId="c7a37fbc-fc18-47fa-bc4e-1f96df76f530" providerId="ADAL" clId="{D7F914C0-A41A-D140-BD42-2AE8ADED66B5}" dt="2020-02-17T21:00:14.210" v="778" actId="1076"/>
          <ac:spMkLst>
            <pc:docMk/>
            <pc:sldMk cId="3168066364" sldId="256"/>
            <ac:spMk id="62" creationId="{957A65AE-4A05-7945-BE35-6ACB3C3617CB}"/>
          </ac:spMkLst>
        </pc:spChg>
        <pc:spChg chg="add del">
          <ac:chgData name="Christopher Schulz" userId="c7a37fbc-fc18-47fa-bc4e-1f96df76f530" providerId="ADAL" clId="{D7F914C0-A41A-D140-BD42-2AE8ADED66B5}" dt="2020-02-17T20:47:05.934" v="514" actId="478"/>
          <ac:spMkLst>
            <pc:docMk/>
            <pc:sldMk cId="3168066364" sldId="256"/>
            <ac:spMk id="63" creationId="{0F54640C-E12E-D44F-BE3B-B5C1D3A3F457}"/>
          </ac:spMkLst>
        </pc:spChg>
        <pc:spChg chg="add mod">
          <ac:chgData name="Christopher Schulz" userId="c7a37fbc-fc18-47fa-bc4e-1f96df76f530" providerId="ADAL" clId="{D7F914C0-A41A-D140-BD42-2AE8ADED66B5}" dt="2020-02-17T21:03:10.093" v="802" actId="2711"/>
          <ac:spMkLst>
            <pc:docMk/>
            <pc:sldMk cId="3168066364" sldId="256"/>
            <ac:spMk id="64" creationId="{81A20781-8663-2F41-A497-C4D57F4DE5E5}"/>
          </ac:spMkLst>
        </pc:spChg>
        <pc:spChg chg="add mod">
          <ac:chgData name="Christopher Schulz" userId="c7a37fbc-fc18-47fa-bc4e-1f96df76f530" providerId="ADAL" clId="{D7F914C0-A41A-D140-BD42-2AE8ADED66B5}" dt="2020-02-17T21:00:20.764" v="779" actId="1076"/>
          <ac:spMkLst>
            <pc:docMk/>
            <pc:sldMk cId="3168066364" sldId="256"/>
            <ac:spMk id="65" creationId="{BFC1D988-8A91-DE49-B58D-593EE053184F}"/>
          </ac:spMkLst>
        </pc:spChg>
        <pc:spChg chg="add mod">
          <ac:chgData name="Christopher Schulz" userId="c7a37fbc-fc18-47fa-bc4e-1f96df76f530" providerId="ADAL" clId="{D7F914C0-A41A-D140-BD42-2AE8ADED66B5}" dt="2020-02-17T21:03:10.093" v="802" actId="2711"/>
          <ac:spMkLst>
            <pc:docMk/>
            <pc:sldMk cId="3168066364" sldId="256"/>
            <ac:spMk id="66" creationId="{C9F832F3-19D4-E046-9A4C-00866193A3E1}"/>
          </ac:spMkLst>
        </pc:spChg>
        <pc:spChg chg="add mod">
          <ac:chgData name="Christopher Schulz" userId="c7a37fbc-fc18-47fa-bc4e-1f96df76f530" providerId="ADAL" clId="{D7F914C0-A41A-D140-BD42-2AE8ADED66B5}" dt="2020-02-17T21:00:23.777" v="780" actId="1076"/>
          <ac:spMkLst>
            <pc:docMk/>
            <pc:sldMk cId="3168066364" sldId="256"/>
            <ac:spMk id="68" creationId="{B4587D13-8F0D-2640-A4F5-B5F2BB27D966}"/>
          </ac:spMkLst>
        </pc:spChg>
        <pc:spChg chg="add mod">
          <ac:chgData name="Christopher Schulz" userId="c7a37fbc-fc18-47fa-bc4e-1f96df76f530" providerId="ADAL" clId="{D7F914C0-A41A-D140-BD42-2AE8ADED66B5}" dt="2020-02-17T21:03:10.093" v="802" actId="2711"/>
          <ac:spMkLst>
            <pc:docMk/>
            <pc:sldMk cId="3168066364" sldId="256"/>
            <ac:spMk id="77" creationId="{689346B4-56EE-484D-98C1-4C85C5FB7AC9}"/>
          </ac:spMkLst>
        </pc:spChg>
        <pc:spChg chg="add mod">
          <ac:chgData name="Christopher Schulz" userId="c7a37fbc-fc18-47fa-bc4e-1f96df76f530" providerId="ADAL" clId="{D7F914C0-A41A-D140-BD42-2AE8ADED66B5}" dt="2020-02-17T21:00:26.858" v="781" actId="1076"/>
          <ac:spMkLst>
            <pc:docMk/>
            <pc:sldMk cId="3168066364" sldId="256"/>
            <ac:spMk id="78" creationId="{E1A175B2-75F9-7741-9683-4400A733C301}"/>
          </ac:spMkLst>
        </pc:spChg>
        <pc:picChg chg="add mod">
          <ac:chgData name="Christopher Schulz" userId="c7a37fbc-fc18-47fa-bc4e-1f96df76f530" providerId="ADAL" clId="{D7F914C0-A41A-D140-BD42-2AE8ADED66B5}" dt="2020-02-17T20:59:52.143" v="774" actId="465"/>
          <ac:picMkLst>
            <pc:docMk/>
            <pc:sldMk cId="3168066364" sldId="256"/>
            <ac:picMk id="6" creationId="{DB42ED7E-A908-CB41-B41D-BE1B48EB1B39}"/>
          </ac:picMkLst>
        </pc:picChg>
        <pc:picChg chg="add mod">
          <ac:chgData name="Christopher Schulz" userId="c7a37fbc-fc18-47fa-bc4e-1f96df76f530" providerId="ADAL" clId="{D7F914C0-A41A-D140-BD42-2AE8ADED66B5}" dt="2020-02-17T20:59:52.143" v="774" actId="465"/>
          <ac:picMkLst>
            <pc:docMk/>
            <pc:sldMk cId="3168066364" sldId="256"/>
            <ac:picMk id="8" creationId="{62B796B7-1932-9D4A-BA6B-823B6ED2E551}"/>
          </ac:picMkLst>
        </pc:picChg>
        <pc:picChg chg="add del mod">
          <ac:chgData name="Christopher Schulz" userId="c7a37fbc-fc18-47fa-bc4e-1f96df76f530" providerId="ADAL" clId="{D7F914C0-A41A-D140-BD42-2AE8ADED66B5}" dt="2020-02-17T21:10:13.922" v="992" actId="478"/>
          <ac:picMkLst>
            <pc:docMk/>
            <pc:sldMk cId="3168066364" sldId="256"/>
            <ac:picMk id="14" creationId="{B6B600DD-82C1-1A45-A1B1-94AD953E06DC}"/>
          </ac:picMkLst>
        </pc:picChg>
        <pc:picChg chg="add mod">
          <ac:chgData name="Christopher Schulz" userId="c7a37fbc-fc18-47fa-bc4e-1f96df76f530" providerId="ADAL" clId="{D7F914C0-A41A-D140-BD42-2AE8ADED66B5}" dt="2020-02-17T20:59:52.143" v="774" actId="465"/>
          <ac:picMkLst>
            <pc:docMk/>
            <pc:sldMk cId="3168066364" sldId="256"/>
            <ac:picMk id="17" creationId="{AD2E7C2A-19EB-0344-8D3D-365177FAFA98}"/>
          </ac:picMkLst>
        </pc:picChg>
        <pc:picChg chg="add mod">
          <ac:chgData name="Christopher Schulz" userId="c7a37fbc-fc18-47fa-bc4e-1f96df76f530" providerId="ADAL" clId="{D7F914C0-A41A-D140-BD42-2AE8ADED66B5}" dt="2020-02-17T20:59:52.143" v="774" actId="465"/>
          <ac:picMkLst>
            <pc:docMk/>
            <pc:sldMk cId="3168066364" sldId="256"/>
            <ac:picMk id="21" creationId="{81672601-4504-D344-A431-DFCF7E932F30}"/>
          </ac:picMkLst>
        </pc:picChg>
        <pc:picChg chg="add mod">
          <ac:chgData name="Christopher Schulz" userId="c7a37fbc-fc18-47fa-bc4e-1f96df76f530" providerId="ADAL" clId="{D7F914C0-A41A-D140-BD42-2AE8ADED66B5}" dt="2020-02-17T20:59:52.143" v="774" actId="465"/>
          <ac:picMkLst>
            <pc:docMk/>
            <pc:sldMk cId="3168066364" sldId="256"/>
            <ac:picMk id="23" creationId="{263C916C-4583-FC41-BB14-3AAC0056EC22}"/>
          </ac:picMkLst>
        </pc:picChg>
        <pc:picChg chg="add del">
          <ac:chgData name="Christopher Schulz" userId="c7a37fbc-fc18-47fa-bc4e-1f96df76f530" providerId="ADAL" clId="{D7F914C0-A41A-D140-BD42-2AE8ADED66B5}" dt="2020-02-17T20:47:47.981" v="516"/>
          <ac:picMkLst>
            <pc:docMk/>
            <pc:sldMk cId="3168066364" sldId="256"/>
            <ac:picMk id="41" creationId="{D8BB86BD-4DAA-954A-ABD1-44042AE6D516}"/>
          </ac:picMkLst>
        </pc:picChg>
        <pc:picChg chg="add del">
          <ac:chgData name="Christopher Schulz" userId="c7a37fbc-fc18-47fa-bc4e-1f96df76f530" providerId="ADAL" clId="{D7F914C0-A41A-D140-BD42-2AE8ADED66B5}" dt="2020-02-17T20:47:47.981" v="516"/>
          <ac:picMkLst>
            <pc:docMk/>
            <pc:sldMk cId="3168066364" sldId="256"/>
            <ac:picMk id="42" creationId="{AB13D690-A0CA-524A-863D-081C47489608}"/>
          </ac:picMkLst>
        </pc:picChg>
        <pc:picChg chg="add del">
          <ac:chgData name="Christopher Schulz" userId="c7a37fbc-fc18-47fa-bc4e-1f96df76f530" providerId="ADAL" clId="{D7F914C0-A41A-D140-BD42-2AE8ADED66B5}" dt="2020-02-17T20:47:47.981" v="516"/>
          <ac:picMkLst>
            <pc:docMk/>
            <pc:sldMk cId="3168066364" sldId="256"/>
            <ac:picMk id="44" creationId="{6C41B575-11B3-3B42-9F93-0ED722F65987}"/>
          </ac:picMkLst>
        </pc:picChg>
        <pc:picChg chg="add del">
          <ac:chgData name="Christopher Schulz" userId="c7a37fbc-fc18-47fa-bc4e-1f96df76f530" providerId="ADAL" clId="{D7F914C0-A41A-D140-BD42-2AE8ADED66B5}" dt="2020-02-17T20:47:47.981" v="516"/>
          <ac:picMkLst>
            <pc:docMk/>
            <pc:sldMk cId="3168066364" sldId="256"/>
            <ac:picMk id="46" creationId="{6E415BC6-D256-4941-8514-AA9ED4DA9082}"/>
          </ac:picMkLst>
        </pc:picChg>
        <pc:picChg chg="add del">
          <ac:chgData name="Christopher Schulz" userId="c7a37fbc-fc18-47fa-bc4e-1f96df76f530" providerId="ADAL" clId="{D7F914C0-A41A-D140-BD42-2AE8ADED66B5}" dt="2020-02-17T20:47:47.981" v="516"/>
          <ac:picMkLst>
            <pc:docMk/>
            <pc:sldMk cId="3168066364" sldId="256"/>
            <ac:picMk id="49" creationId="{EB21D3A6-A2D8-064B-BD4C-9B1F64D84980}"/>
          </ac:picMkLst>
        </pc:picChg>
        <pc:picChg chg="add del">
          <ac:chgData name="Christopher Schulz" userId="c7a37fbc-fc18-47fa-bc4e-1f96df76f530" providerId="ADAL" clId="{D7F914C0-A41A-D140-BD42-2AE8ADED66B5}" dt="2020-02-17T20:47:05.934" v="514" actId="478"/>
          <ac:picMkLst>
            <pc:docMk/>
            <pc:sldMk cId="3168066364" sldId="256"/>
            <ac:picMk id="67" creationId="{21F0E87E-9B89-C342-AD8D-A812BF83D754}"/>
          </ac:picMkLst>
        </pc:picChg>
        <pc:picChg chg="add del">
          <ac:chgData name="Christopher Schulz" userId="c7a37fbc-fc18-47fa-bc4e-1f96df76f530" providerId="ADAL" clId="{D7F914C0-A41A-D140-BD42-2AE8ADED66B5}" dt="2020-02-17T20:47:05.934" v="514" actId="478"/>
          <ac:picMkLst>
            <pc:docMk/>
            <pc:sldMk cId="3168066364" sldId="256"/>
            <ac:picMk id="69" creationId="{49CD0D3F-AB96-8246-8408-5FAFF9B497B7}"/>
          </ac:picMkLst>
        </pc:picChg>
        <pc:picChg chg="add mod">
          <ac:chgData name="Christopher Schulz" userId="c7a37fbc-fc18-47fa-bc4e-1f96df76f530" providerId="ADAL" clId="{D7F914C0-A41A-D140-BD42-2AE8ADED66B5}" dt="2020-02-17T21:00:52.278" v="782" actId="1076"/>
          <ac:picMkLst>
            <pc:docMk/>
            <pc:sldMk cId="3168066364" sldId="256"/>
            <ac:picMk id="70" creationId="{1A05F362-4D05-8F4E-992C-75B98B6A5DA5}"/>
          </ac:picMkLst>
        </pc:picChg>
        <pc:picChg chg="add mod">
          <ac:chgData name="Christopher Schulz" userId="c7a37fbc-fc18-47fa-bc4e-1f96df76f530" providerId="ADAL" clId="{D7F914C0-A41A-D140-BD42-2AE8ADED66B5}" dt="2020-02-17T21:02:44.592" v="794" actId="1076"/>
          <ac:picMkLst>
            <pc:docMk/>
            <pc:sldMk cId="3168066364" sldId="256"/>
            <ac:picMk id="71" creationId="{983402E8-A46E-8B47-A133-C823413EC54F}"/>
          </ac:picMkLst>
        </pc:picChg>
        <pc:picChg chg="add mod">
          <ac:chgData name="Christopher Schulz" userId="c7a37fbc-fc18-47fa-bc4e-1f96df76f530" providerId="ADAL" clId="{D7F914C0-A41A-D140-BD42-2AE8ADED66B5}" dt="2020-02-17T21:02:38.615" v="793" actId="1076"/>
          <ac:picMkLst>
            <pc:docMk/>
            <pc:sldMk cId="3168066364" sldId="256"/>
            <ac:picMk id="72" creationId="{02C0DB24-6FD0-B746-8A62-E01986EADAB6}"/>
          </ac:picMkLst>
        </pc:picChg>
        <pc:picChg chg="add del">
          <ac:chgData name="Christopher Schulz" userId="c7a37fbc-fc18-47fa-bc4e-1f96df76f530" providerId="ADAL" clId="{D7F914C0-A41A-D140-BD42-2AE8ADED66B5}" dt="2020-02-17T20:47:05.934" v="514" actId="478"/>
          <ac:picMkLst>
            <pc:docMk/>
            <pc:sldMk cId="3168066364" sldId="256"/>
            <ac:picMk id="73" creationId="{8F1F2886-5F91-A849-92C8-398E3F7B5350}"/>
          </ac:picMkLst>
        </pc:picChg>
        <pc:picChg chg="add mod">
          <ac:chgData name="Christopher Schulz" userId="c7a37fbc-fc18-47fa-bc4e-1f96df76f530" providerId="ADAL" clId="{D7F914C0-A41A-D140-BD42-2AE8ADED66B5}" dt="2020-02-17T21:02:31.608" v="792" actId="1076"/>
          <ac:picMkLst>
            <pc:docMk/>
            <pc:sldMk cId="3168066364" sldId="256"/>
            <ac:picMk id="74" creationId="{3121D770-0C42-1544-8A1F-A6227274C75B}"/>
          </ac:picMkLst>
        </pc:picChg>
        <pc:picChg chg="add del">
          <ac:chgData name="Christopher Schulz" userId="c7a37fbc-fc18-47fa-bc4e-1f96df76f530" providerId="ADAL" clId="{D7F914C0-A41A-D140-BD42-2AE8ADED66B5}" dt="2020-02-17T20:47:05.934" v="514" actId="478"/>
          <ac:picMkLst>
            <pc:docMk/>
            <pc:sldMk cId="3168066364" sldId="256"/>
            <ac:picMk id="75" creationId="{61A481AC-2C84-634E-889D-B57122DAE414}"/>
          </ac:picMkLst>
        </pc:picChg>
        <pc:picChg chg="add mod">
          <ac:chgData name="Christopher Schulz" userId="c7a37fbc-fc18-47fa-bc4e-1f96df76f530" providerId="ADAL" clId="{D7F914C0-A41A-D140-BD42-2AE8ADED66B5}" dt="2020-02-17T21:02:25.470" v="791" actId="1076"/>
          <ac:picMkLst>
            <pc:docMk/>
            <pc:sldMk cId="3168066364" sldId="256"/>
            <ac:picMk id="76" creationId="{15E66E4D-FAB3-5742-8D12-8CEB6CD159F8}"/>
          </ac:picMkLst>
        </pc:picChg>
        <pc:picChg chg="add mod">
          <ac:chgData name="Christopher Schulz" userId="c7a37fbc-fc18-47fa-bc4e-1f96df76f530" providerId="ADAL" clId="{D7F914C0-A41A-D140-BD42-2AE8ADED66B5}" dt="2020-02-17T21:02:16.216" v="790" actId="1076"/>
          <ac:picMkLst>
            <pc:docMk/>
            <pc:sldMk cId="3168066364" sldId="256"/>
            <ac:picMk id="79" creationId="{C5E1EDAC-30BB-1243-A314-4B48F0A3E523}"/>
          </ac:picMkLst>
        </pc:picChg>
        <pc:picChg chg="add mod">
          <ac:chgData name="Christopher Schulz" userId="c7a37fbc-fc18-47fa-bc4e-1f96df76f530" providerId="ADAL" clId="{D7F914C0-A41A-D140-BD42-2AE8ADED66B5}" dt="2020-02-18T06:01:13.395" v="1018" actId="1076"/>
          <ac:picMkLst>
            <pc:docMk/>
            <pc:sldMk cId="3168066364" sldId="256"/>
            <ac:picMk id="80" creationId="{B9C0E521-060B-7147-ACA8-A5C61AC1DF06}"/>
          </ac:picMkLst>
        </pc:picChg>
        <pc:cxnChg chg="add del mod">
          <ac:chgData name="Christopher Schulz" userId="c7a37fbc-fc18-47fa-bc4e-1f96df76f530" providerId="ADAL" clId="{D7F914C0-A41A-D140-BD42-2AE8ADED66B5}" dt="2020-02-17T20:47:05.934" v="514" actId="478"/>
          <ac:cxnSpMkLst>
            <pc:docMk/>
            <pc:sldMk cId="3168066364" sldId="256"/>
            <ac:cxnSpMk id="13" creationId="{276038E9-BA9E-2744-B068-8E99E3FDAD2E}"/>
          </ac:cxnSpMkLst>
        </pc:cxnChg>
        <pc:cxnChg chg="add del mod">
          <ac:chgData name="Christopher Schulz" userId="c7a37fbc-fc18-47fa-bc4e-1f96df76f530" providerId="ADAL" clId="{D7F914C0-A41A-D140-BD42-2AE8ADED66B5}" dt="2020-02-17T20:47:05.934" v="514" actId="478"/>
          <ac:cxnSpMkLst>
            <pc:docMk/>
            <pc:sldMk cId="3168066364" sldId="256"/>
            <ac:cxnSpMk id="15" creationId="{D0E8B1AC-D997-CA4A-88CB-E2A2065DBD22}"/>
          </ac:cxnSpMkLst>
        </pc:cxnChg>
        <pc:cxnChg chg="add del mod">
          <ac:chgData name="Christopher Schulz" userId="c7a37fbc-fc18-47fa-bc4e-1f96df76f530" providerId="ADAL" clId="{D7F914C0-A41A-D140-BD42-2AE8ADED66B5}" dt="2020-02-17T20:47:05.934" v="514" actId="478"/>
          <ac:cxnSpMkLst>
            <pc:docMk/>
            <pc:sldMk cId="3168066364" sldId="256"/>
            <ac:cxnSpMk id="19" creationId="{1A447975-C2F0-7A43-BCA5-6679E37A6083}"/>
          </ac:cxnSpMkLst>
        </pc:cxnChg>
        <pc:cxnChg chg="add del mod">
          <ac:chgData name="Christopher Schulz" userId="c7a37fbc-fc18-47fa-bc4e-1f96df76f530" providerId="ADAL" clId="{D7F914C0-A41A-D140-BD42-2AE8ADED66B5}" dt="2020-02-17T20:47:05.934" v="514" actId="478"/>
          <ac:cxnSpMkLst>
            <pc:docMk/>
            <pc:sldMk cId="3168066364" sldId="256"/>
            <ac:cxnSpMk id="25" creationId="{D9142291-DC66-4C46-A135-9CC157BF6704}"/>
          </ac:cxnSpMkLst>
        </pc:cxnChg>
        <pc:cxnChg chg="add del mod">
          <ac:chgData name="Christopher Schulz" userId="c7a37fbc-fc18-47fa-bc4e-1f96df76f530" providerId="ADAL" clId="{D7F914C0-A41A-D140-BD42-2AE8ADED66B5}" dt="2020-02-17T20:47:05.934" v="514" actId="478"/>
          <ac:cxnSpMkLst>
            <pc:docMk/>
            <pc:sldMk cId="3168066364" sldId="256"/>
            <ac:cxnSpMk id="28" creationId="{22EA9298-ABC5-574E-8E7F-8313A1C8E1F3}"/>
          </ac:cxnSpMkLst>
        </pc:cxnChg>
        <pc:cxnChg chg="add del mod">
          <ac:chgData name="Christopher Schulz" userId="c7a37fbc-fc18-47fa-bc4e-1f96df76f530" providerId="ADAL" clId="{D7F914C0-A41A-D140-BD42-2AE8ADED66B5}" dt="2020-02-17T20:47:05.934" v="514" actId="478"/>
          <ac:cxnSpMkLst>
            <pc:docMk/>
            <pc:sldMk cId="3168066364" sldId="256"/>
            <ac:cxnSpMk id="43" creationId="{580DF897-3A19-3E49-A1D0-33F6FDC8861C}"/>
          </ac:cxnSpMkLst>
        </pc:cxnChg>
        <pc:cxnChg chg="add del mod">
          <ac:chgData name="Christopher Schulz" userId="c7a37fbc-fc18-47fa-bc4e-1f96df76f530" providerId="ADAL" clId="{D7F914C0-A41A-D140-BD42-2AE8ADED66B5}" dt="2020-02-17T20:47:05.934" v="514" actId="478"/>
          <ac:cxnSpMkLst>
            <pc:docMk/>
            <pc:sldMk cId="3168066364" sldId="256"/>
            <ac:cxnSpMk id="45" creationId="{59AD6A25-97F8-074F-9989-46709164F64A}"/>
          </ac:cxnSpMkLst>
        </pc:cxnChg>
      </pc:sldChg>
      <pc:sldChg chg="add del">
        <pc:chgData name="Christopher Schulz" userId="c7a37fbc-fc18-47fa-bc4e-1f96df76f530" providerId="ADAL" clId="{D7F914C0-A41A-D140-BD42-2AE8ADED66B5}" dt="2020-02-17T20:48:29.920" v="521" actId="2696"/>
        <pc:sldMkLst>
          <pc:docMk/>
          <pc:sldMk cId="27030151" sldId="258"/>
        </pc:sldMkLst>
      </pc:sldChg>
      <pc:sldChg chg="modSp">
        <pc:chgData name="Christopher Schulz" userId="c7a37fbc-fc18-47fa-bc4e-1f96df76f530" providerId="ADAL" clId="{D7F914C0-A41A-D140-BD42-2AE8ADED66B5}" dt="2020-02-17T20:46:53.651" v="511" actId="20577"/>
        <pc:sldMkLst>
          <pc:docMk/>
          <pc:sldMk cId="1472519979" sldId="436"/>
        </pc:sldMkLst>
        <pc:spChg chg="mod">
          <ac:chgData name="Christopher Schulz" userId="c7a37fbc-fc18-47fa-bc4e-1f96df76f530" providerId="ADAL" clId="{D7F914C0-A41A-D140-BD42-2AE8ADED66B5}" dt="2020-02-17T20:46:53.651" v="511" actId="20577"/>
          <ac:spMkLst>
            <pc:docMk/>
            <pc:sldMk cId="1472519979" sldId="436"/>
            <ac:spMk id="10" creationId="{274B8FD3-DE57-F04F-8CE3-DD4FB0B74771}"/>
          </ac:spMkLst>
        </pc:spChg>
      </pc:sldChg>
      <pc:sldChg chg="addSp delSp modSp">
        <pc:chgData name="Christopher Schulz" userId="c7a37fbc-fc18-47fa-bc4e-1f96df76f530" providerId="ADAL" clId="{D7F914C0-A41A-D140-BD42-2AE8ADED66B5}" dt="2020-02-17T21:13:39.554" v="1016" actId="1076"/>
        <pc:sldMkLst>
          <pc:docMk/>
          <pc:sldMk cId="3209056058" sldId="440"/>
        </pc:sldMkLst>
        <pc:spChg chg="mod">
          <ac:chgData name="Christopher Schulz" userId="c7a37fbc-fc18-47fa-bc4e-1f96df76f530" providerId="ADAL" clId="{D7F914C0-A41A-D140-BD42-2AE8ADED66B5}" dt="2020-02-17T21:13:39.554" v="1016" actId="1076"/>
          <ac:spMkLst>
            <pc:docMk/>
            <pc:sldMk cId="3209056058" sldId="440"/>
            <ac:spMk id="12" creationId="{32EF9AB9-F3CC-6340-AFA5-FD80FF545825}"/>
          </ac:spMkLst>
        </pc:spChg>
        <pc:spChg chg="mod">
          <ac:chgData name="Christopher Schulz" userId="c7a37fbc-fc18-47fa-bc4e-1f96df76f530" providerId="ADAL" clId="{D7F914C0-A41A-D140-BD42-2AE8ADED66B5}" dt="2020-02-17T20:43:55.453" v="151" actId="20577"/>
          <ac:spMkLst>
            <pc:docMk/>
            <pc:sldMk cId="3209056058" sldId="440"/>
            <ac:spMk id="16" creationId="{B6283CED-F12B-D640-B69C-31DCB8F74681}"/>
          </ac:spMkLst>
        </pc:spChg>
        <pc:picChg chg="add mod modCrop">
          <ac:chgData name="Christopher Schulz" userId="c7a37fbc-fc18-47fa-bc4e-1f96df76f530" providerId="ADAL" clId="{D7F914C0-A41A-D140-BD42-2AE8ADED66B5}" dt="2020-02-17T21:13:32.474" v="1015" actId="18331"/>
          <ac:picMkLst>
            <pc:docMk/>
            <pc:sldMk cId="3209056058" sldId="440"/>
            <ac:picMk id="3" creationId="{7D8E9132-E61A-DF48-B4E5-5571528ED1DC}"/>
          </ac:picMkLst>
        </pc:picChg>
        <pc:picChg chg="del">
          <ac:chgData name="Christopher Schulz" userId="c7a37fbc-fc18-47fa-bc4e-1f96df76f530" providerId="ADAL" clId="{D7F914C0-A41A-D140-BD42-2AE8ADED66B5}" dt="2020-02-17T20:41:21.407" v="1" actId="478"/>
          <ac:picMkLst>
            <pc:docMk/>
            <pc:sldMk cId="3209056058" sldId="440"/>
            <ac:picMk id="5" creationId="{CB4EEF46-D9DA-C346-B025-B21C8C8541AB}"/>
          </ac:picMkLst>
        </pc:picChg>
      </pc:sldChg>
      <pc:sldChg chg="addSp delSp modSp add">
        <pc:chgData name="Christopher Schulz" userId="c7a37fbc-fc18-47fa-bc4e-1f96df76f530" providerId="ADAL" clId="{D7F914C0-A41A-D140-BD42-2AE8ADED66B5}" dt="2020-02-18T06:01:24.551" v="1019" actId="478"/>
        <pc:sldMkLst>
          <pc:docMk/>
          <pc:sldMk cId="262661586" sldId="441"/>
        </pc:sldMkLst>
        <pc:spChg chg="mod">
          <ac:chgData name="Christopher Schulz" userId="c7a37fbc-fc18-47fa-bc4e-1f96df76f530" providerId="ADAL" clId="{D7F914C0-A41A-D140-BD42-2AE8ADED66B5}" dt="2020-02-17T21:03:18.167" v="807" actId="20577"/>
          <ac:spMkLst>
            <pc:docMk/>
            <pc:sldMk cId="262661586" sldId="441"/>
            <ac:spMk id="2" creationId="{D68C5A50-1913-4507-988E-B3319E45906C}"/>
          </ac:spMkLst>
        </pc:spChg>
        <pc:spChg chg="mod">
          <ac:chgData name="Christopher Schulz" userId="c7a37fbc-fc18-47fa-bc4e-1f96df76f530" providerId="ADAL" clId="{D7F914C0-A41A-D140-BD42-2AE8ADED66B5}" dt="2020-02-17T21:03:20.870" v="811" actId="20577"/>
          <ac:spMkLst>
            <pc:docMk/>
            <pc:sldMk cId="262661586" sldId="441"/>
            <ac:spMk id="3" creationId="{5F0B0340-28DE-4C04-BA5A-1EB9C2F0782D}"/>
          </ac:spMkLst>
        </pc:spChg>
        <pc:spChg chg="mod">
          <ac:chgData name="Christopher Schulz" userId="c7a37fbc-fc18-47fa-bc4e-1f96df76f530" providerId="ADAL" clId="{D7F914C0-A41A-D140-BD42-2AE8ADED66B5}" dt="2020-02-17T21:04:32.345" v="851" actId="115"/>
          <ac:spMkLst>
            <pc:docMk/>
            <pc:sldMk cId="262661586" sldId="441"/>
            <ac:spMk id="54" creationId="{E53354FD-A7ED-F741-90BC-3497A87A2154}"/>
          </ac:spMkLst>
        </pc:spChg>
        <pc:spChg chg="mod">
          <ac:chgData name="Christopher Schulz" userId="c7a37fbc-fc18-47fa-bc4e-1f96df76f530" providerId="ADAL" clId="{D7F914C0-A41A-D140-BD42-2AE8ADED66B5}" dt="2020-02-17T21:04:28.480" v="849" actId="115"/>
          <ac:spMkLst>
            <pc:docMk/>
            <pc:sldMk cId="262661586" sldId="441"/>
            <ac:spMk id="60" creationId="{FBEF7467-2272-8C42-A10A-0A45907C2AF1}"/>
          </ac:spMkLst>
        </pc:spChg>
        <pc:spChg chg="mod">
          <ac:chgData name="Christopher Schulz" userId="c7a37fbc-fc18-47fa-bc4e-1f96df76f530" providerId="ADAL" clId="{D7F914C0-A41A-D140-BD42-2AE8ADED66B5}" dt="2020-02-17T21:04:38.416" v="854" actId="115"/>
          <ac:spMkLst>
            <pc:docMk/>
            <pc:sldMk cId="262661586" sldId="441"/>
            <ac:spMk id="62" creationId="{957A65AE-4A05-7945-BE35-6ACB3C3617CB}"/>
          </ac:spMkLst>
        </pc:spChg>
        <pc:spChg chg="mod">
          <ac:chgData name="Christopher Schulz" userId="c7a37fbc-fc18-47fa-bc4e-1f96df76f530" providerId="ADAL" clId="{D7F914C0-A41A-D140-BD42-2AE8ADED66B5}" dt="2020-02-17T21:05:34.340" v="892" actId="20577"/>
          <ac:spMkLst>
            <pc:docMk/>
            <pc:sldMk cId="262661586" sldId="441"/>
            <ac:spMk id="65" creationId="{BFC1D988-8A91-DE49-B58D-593EE053184F}"/>
          </ac:spMkLst>
        </pc:spChg>
        <pc:spChg chg="mod">
          <ac:chgData name="Christopher Schulz" userId="c7a37fbc-fc18-47fa-bc4e-1f96df76f530" providerId="ADAL" clId="{D7F914C0-A41A-D140-BD42-2AE8ADED66B5}" dt="2020-02-17T21:09:00.818" v="975" actId="115"/>
          <ac:spMkLst>
            <pc:docMk/>
            <pc:sldMk cId="262661586" sldId="441"/>
            <ac:spMk id="68" creationId="{B4587D13-8F0D-2640-A4F5-B5F2BB27D966}"/>
          </ac:spMkLst>
        </pc:spChg>
        <pc:spChg chg="mod">
          <ac:chgData name="Christopher Schulz" userId="c7a37fbc-fc18-47fa-bc4e-1f96df76f530" providerId="ADAL" clId="{D7F914C0-A41A-D140-BD42-2AE8ADED66B5}" dt="2020-02-17T21:08:55.545" v="973" actId="115"/>
          <ac:spMkLst>
            <pc:docMk/>
            <pc:sldMk cId="262661586" sldId="441"/>
            <ac:spMk id="78" creationId="{E1A175B2-75F9-7741-9683-4400A733C301}"/>
          </ac:spMkLst>
        </pc:spChg>
        <pc:picChg chg="add mod">
          <ac:chgData name="Christopher Schulz" userId="c7a37fbc-fc18-47fa-bc4e-1f96df76f530" providerId="ADAL" clId="{D7F914C0-A41A-D140-BD42-2AE8ADED66B5}" dt="2020-02-17T21:09:12.201" v="978" actId="1076"/>
          <ac:picMkLst>
            <pc:docMk/>
            <pc:sldMk cId="262661586" sldId="441"/>
            <ac:picMk id="5" creationId="{FD97028A-D64A-EE49-B5D2-364637A78E41}"/>
          </ac:picMkLst>
        </pc:picChg>
        <pc:picChg chg="del">
          <ac:chgData name="Christopher Schulz" userId="c7a37fbc-fc18-47fa-bc4e-1f96df76f530" providerId="ADAL" clId="{D7F914C0-A41A-D140-BD42-2AE8ADED66B5}" dt="2020-02-17T21:09:17.599" v="980" actId="478"/>
          <ac:picMkLst>
            <pc:docMk/>
            <pc:sldMk cId="262661586" sldId="441"/>
            <ac:picMk id="6" creationId="{DB42ED7E-A908-CB41-B41D-BE1B48EB1B39}"/>
          </ac:picMkLst>
        </pc:picChg>
        <pc:picChg chg="del">
          <ac:chgData name="Christopher Schulz" userId="c7a37fbc-fc18-47fa-bc4e-1f96df76f530" providerId="ADAL" clId="{D7F914C0-A41A-D140-BD42-2AE8ADED66B5}" dt="2020-02-17T21:09:35.747" v="983" actId="478"/>
          <ac:picMkLst>
            <pc:docMk/>
            <pc:sldMk cId="262661586" sldId="441"/>
            <ac:picMk id="8" creationId="{62B796B7-1932-9D4A-BA6B-823B6ED2E551}"/>
          </ac:picMkLst>
        </pc:picChg>
        <pc:picChg chg="add mod">
          <ac:chgData name="Christopher Schulz" userId="c7a37fbc-fc18-47fa-bc4e-1f96df76f530" providerId="ADAL" clId="{D7F914C0-A41A-D140-BD42-2AE8ADED66B5}" dt="2020-02-17T21:09:28.453" v="982" actId="1076"/>
          <ac:picMkLst>
            <pc:docMk/>
            <pc:sldMk cId="262661586" sldId="441"/>
            <ac:picMk id="9" creationId="{FEB1646B-B68B-B94B-8822-8CADBDCFCBCF}"/>
          </ac:picMkLst>
        </pc:picChg>
        <pc:picChg chg="add del mod">
          <ac:chgData name="Christopher Schulz" userId="c7a37fbc-fc18-47fa-bc4e-1f96df76f530" providerId="ADAL" clId="{D7F914C0-A41A-D140-BD42-2AE8ADED66B5}" dt="2020-02-17T21:12:53.009" v="1013" actId="478"/>
          <ac:picMkLst>
            <pc:docMk/>
            <pc:sldMk cId="262661586" sldId="441"/>
            <ac:picMk id="11" creationId="{186DD79D-FA1C-034F-989B-491410EE0E64}"/>
          </ac:picMkLst>
        </pc:picChg>
        <pc:picChg chg="add del mod">
          <ac:chgData name="Christopher Schulz" userId="c7a37fbc-fc18-47fa-bc4e-1f96df76f530" providerId="ADAL" clId="{D7F914C0-A41A-D140-BD42-2AE8ADED66B5}" dt="2020-02-17T21:12:42.428" v="1011" actId="478"/>
          <ac:picMkLst>
            <pc:docMk/>
            <pc:sldMk cId="262661586" sldId="441"/>
            <ac:picMk id="13" creationId="{8ED7FDE7-F125-E14D-AEB9-92A19806748E}"/>
          </ac:picMkLst>
        </pc:picChg>
        <pc:picChg chg="del">
          <ac:chgData name="Christopher Schulz" userId="c7a37fbc-fc18-47fa-bc4e-1f96df76f530" providerId="ADAL" clId="{D7F914C0-A41A-D140-BD42-2AE8ADED66B5}" dt="2020-02-17T21:11:00.329" v="999" actId="478"/>
          <ac:picMkLst>
            <pc:docMk/>
            <pc:sldMk cId="262661586" sldId="441"/>
            <ac:picMk id="14" creationId="{B6B600DD-82C1-1A45-A1B1-94AD953E06DC}"/>
          </ac:picMkLst>
        </pc:picChg>
        <pc:picChg chg="add mod">
          <ac:chgData name="Christopher Schulz" userId="c7a37fbc-fc18-47fa-bc4e-1f96df76f530" providerId="ADAL" clId="{D7F914C0-A41A-D140-BD42-2AE8ADED66B5}" dt="2020-02-17T21:10:08.777" v="991" actId="1076"/>
          <ac:picMkLst>
            <pc:docMk/>
            <pc:sldMk cId="262661586" sldId="441"/>
            <ac:picMk id="16" creationId="{87AD33BD-F0F8-7F4A-8896-FC10AEB1F78C}"/>
          </ac:picMkLst>
        </pc:picChg>
        <pc:picChg chg="del">
          <ac:chgData name="Christopher Schulz" userId="c7a37fbc-fc18-47fa-bc4e-1f96df76f530" providerId="ADAL" clId="{D7F914C0-A41A-D140-BD42-2AE8ADED66B5}" dt="2020-02-17T21:09:58.906" v="989" actId="478"/>
          <ac:picMkLst>
            <pc:docMk/>
            <pc:sldMk cId="262661586" sldId="441"/>
            <ac:picMk id="17" creationId="{AD2E7C2A-19EB-0344-8D3D-365177FAFA98}"/>
          </ac:picMkLst>
        </pc:picChg>
        <pc:picChg chg="add del mod">
          <ac:chgData name="Christopher Schulz" userId="c7a37fbc-fc18-47fa-bc4e-1f96df76f530" providerId="ADAL" clId="{D7F914C0-A41A-D140-BD42-2AE8ADED66B5}" dt="2020-02-18T06:01:24.551" v="1019" actId="478"/>
          <ac:picMkLst>
            <pc:docMk/>
            <pc:sldMk cId="262661586" sldId="441"/>
            <ac:picMk id="19" creationId="{96A75E5F-BBFD-9B4B-815B-5DDB5D0750F9}"/>
          </ac:picMkLst>
        </pc:picChg>
        <pc:picChg chg="del">
          <ac:chgData name="Christopher Schulz" userId="c7a37fbc-fc18-47fa-bc4e-1f96df76f530" providerId="ADAL" clId="{D7F914C0-A41A-D140-BD42-2AE8ADED66B5}" dt="2020-02-17T21:09:43.492" v="985" actId="478"/>
          <ac:picMkLst>
            <pc:docMk/>
            <pc:sldMk cId="262661586" sldId="441"/>
            <ac:picMk id="21" creationId="{81672601-4504-D344-A431-DFCF7E932F30}"/>
          </ac:picMkLst>
        </pc:picChg>
        <pc:picChg chg="add mod">
          <ac:chgData name="Christopher Schulz" userId="c7a37fbc-fc18-47fa-bc4e-1f96df76f530" providerId="ADAL" clId="{D7F914C0-A41A-D140-BD42-2AE8ADED66B5}" dt="2020-02-17T21:11:05.852" v="1000" actId="1076"/>
          <ac:picMkLst>
            <pc:docMk/>
            <pc:sldMk cId="262661586" sldId="441"/>
            <ac:picMk id="22" creationId="{5625DB93-109D-0D41-B156-EC7BAC3FF2D4}"/>
          </ac:picMkLst>
        </pc:picChg>
        <pc:picChg chg="del">
          <ac:chgData name="Christopher Schulz" userId="c7a37fbc-fc18-47fa-bc4e-1f96df76f530" providerId="ADAL" clId="{D7F914C0-A41A-D140-BD42-2AE8ADED66B5}" dt="2020-02-17T21:09:05.066" v="977" actId="478"/>
          <ac:picMkLst>
            <pc:docMk/>
            <pc:sldMk cId="262661586" sldId="441"/>
            <ac:picMk id="23" creationId="{263C916C-4583-FC41-BB14-3AAC0056EC22}"/>
          </ac:picMkLst>
        </pc:picChg>
        <pc:picChg chg="add del mod">
          <ac:chgData name="Christopher Schulz" userId="c7a37fbc-fc18-47fa-bc4e-1f96df76f530" providerId="ADAL" clId="{D7F914C0-A41A-D140-BD42-2AE8ADED66B5}" dt="2020-02-17T21:12:15.624" v="1005" actId="478"/>
          <ac:picMkLst>
            <pc:docMk/>
            <pc:sldMk cId="262661586" sldId="441"/>
            <ac:picMk id="25" creationId="{660720C0-0F1F-E547-A660-5AEBB098CDC1}"/>
          </ac:picMkLst>
        </pc:picChg>
        <pc:picChg chg="add mod">
          <ac:chgData name="Christopher Schulz" userId="c7a37fbc-fc18-47fa-bc4e-1f96df76f530" providerId="ADAL" clId="{D7F914C0-A41A-D140-BD42-2AE8ADED66B5}" dt="2020-02-17T21:12:21.791" v="1006" actId="1076"/>
          <ac:picMkLst>
            <pc:docMk/>
            <pc:sldMk cId="262661586" sldId="441"/>
            <ac:picMk id="27" creationId="{7C5C1CCB-2292-5645-A45A-FF66AC65074F}"/>
          </ac:picMkLst>
        </pc:picChg>
        <pc:picChg chg="add mod">
          <ac:chgData name="Christopher Schulz" userId="c7a37fbc-fc18-47fa-bc4e-1f96df76f530" providerId="ADAL" clId="{D7F914C0-A41A-D140-BD42-2AE8ADED66B5}" dt="2020-02-17T21:12:50.925" v="1012" actId="1076"/>
          <ac:picMkLst>
            <pc:docMk/>
            <pc:sldMk cId="262661586" sldId="441"/>
            <ac:picMk id="29" creationId="{939923BC-3CB7-8B42-93ED-88681774AF1B}"/>
          </ac:picMkLst>
        </pc:picChg>
      </pc:sldChg>
      <pc:sldMasterChg chg="del delSldLayout">
        <pc:chgData name="Christopher Schulz" userId="c7a37fbc-fc18-47fa-bc4e-1f96df76f530" providerId="ADAL" clId="{D7F914C0-A41A-D140-BD42-2AE8ADED66B5}" dt="2020-02-17T20:48:29.940" v="533" actId="2696"/>
        <pc:sldMasterMkLst>
          <pc:docMk/>
          <pc:sldMasterMk cId="2394559101" sldId="2147483670"/>
        </pc:sldMasterMkLst>
        <pc:sldLayoutChg chg="del">
          <pc:chgData name="Christopher Schulz" userId="c7a37fbc-fc18-47fa-bc4e-1f96df76f530" providerId="ADAL" clId="{D7F914C0-A41A-D140-BD42-2AE8ADED66B5}" dt="2020-02-17T20:48:29.922" v="522" actId="2696"/>
          <pc:sldLayoutMkLst>
            <pc:docMk/>
            <pc:sldMasterMk cId="2394559101" sldId="2147483670"/>
            <pc:sldLayoutMk cId="2129078880" sldId="2147483671"/>
          </pc:sldLayoutMkLst>
        </pc:sldLayoutChg>
        <pc:sldLayoutChg chg="del">
          <pc:chgData name="Christopher Schulz" userId="c7a37fbc-fc18-47fa-bc4e-1f96df76f530" providerId="ADAL" clId="{D7F914C0-A41A-D140-BD42-2AE8ADED66B5}" dt="2020-02-17T20:48:29.924" v="523" actId="2696"/>
          <pc:sldLayoutMkLst>
            <pc:docMk/>
            <pc:sldMasterMk cId="2394559101" sldId="2147483670"/>
            <pc:sldLayoutMk cId="2158486960" sldId="2147483672"/>
          </pc:sldLayoutMkLst>
        </pc:sldLayoutChg>
        <pc:sldLayoutChg chg="del">
          <pc:chgData name="Christopher Schulz" userId="c7a37fbc-fc18-47fa-bc4e-1f96df76f530" providerId="ADAL" clId="{D7F914C0-A41A-D140-BD42-2AE8ADED66B5}" dt="2020-02-17T20:48:29.925" v="524" actId="2696"/>
          <pc:sldLayoutMkLst>
            <pc:docMk/>
            <pc:sldMasterMk cId="2394559101" sldId="2147483670"/>
            <pc:sldLayoutMk cId="2599357180" sldId="2147483673"/>
          </pc:sldLayoutMkLst>
        </pc:sldLayoutChg>
        <pc:sldLayoutChg chg="del">
          <pc:chgData name="Christopher Schulz" userId="c7a37fbc-fc18-47fa-bc4e-1f96df76f530" providerId="ADAL" clId="{D7F914C0-A41A-D140-BD42-2AE8ADED66B5}" dt="2020-02-17T20:48:29.926" v="525" actId="2696"/>
          <pc:sldLayoutMkLst>
            <pc:docMk/>
            <pc:sldMasterMk cId="2394559101" sldId="2147483670"/>
            <pc:sldLayoutMk cId="2509802784" sldId="2147483674"/>
          </pc:sldLayoutMkLst>
        </pc:sldLayoutChg>
        <pc:sldLayoutChg chg="del">
          <pc:chgData name="Christopher Schulz" userId="c7a37fbc-fc18-47fa-bc4e-1f96df76f530" providerId="ADAL" clId="{D7F914C0-A41A-D140-BD42-2AE8ADED66B5}" dt="2020-02-17T20:48:29.928" v="526" actId="2696"/>
          <pc:sldLayoutMkLst>
            <pc:docMk/>
            <pc:sldMasterMk cId="2394559101" sldId="2147483670"/>
            <pc:sldLayoutMk cId="4279668960" sldId="2147483675"/>
          </pc:sldLayoutMkLst>
        </pc:sldLayoutChg>
        <pc:sldLayoutChg chg="del">
          <pc:chgData name="Christopher Schulz" userId="c7a37fbc-fc18-47fa-bc4e-1f96df76f530" providerId="ADAL" clId="{D7F914C0-A41A-D140-BD42-2AE8ADED66B5}" dt="2020-02-17T20:48:29.929" v="527" actId="2696"/>
          <pc:sldLayoutMkLst>
            <pc:docMk/>
            <pc:sldMasterMk cId="2394559101" sldId="2147483670"/>
            <pc:sldLayoutMk cId="1029814949" sldId="2147483676"/>
          </pc:sldLayoutMkLst>
        </pc:sldLayoutChg>
        <pc:sldLayoutChg chg="del">
          <pc:chgData name="Christopher Schulz" userId="c7a37fbc-fc18-47fa-bc4e-1f96df76f530" providerId="ADAL" clId="{D7F914C0-A41A-D140-BD42-2AE8ADED66B5}" dt="2020-02-17T20:48:29.930" v="528" actId="2696"/>
          <pc:sldLayoutMkLst>
            <pc:docMk/>
            <pc:sldMasterMk cId="2394559101" sldId="2147483670"/>
            <pc:sldLayoutMk cId="3552784791" sldId="2147483677"/>
          </pc:sldLayoutMkLst>
        </pc:sldLayoutChg>
        <pc:sldLayoutChg chg="del">
          <pc:chgData name="Christopher Schulz" userId="c7a37fbc-fc18-47fa-bc4e-1f96df76f530" providerId="ADAL" clId="{D7F914C0-A41A-D140-BD42-2AE8ADED66B5}" dt="2020-02-17T20:48:29.931" v="529" actId="2696"/>
          <pc:sldLayoutMkLst>
            <pc:docMk/>
            <pc:sldMasterMk cId="2394559101" sldId="2147483670"/>
            <pc:sldLayoutMk cId="1950862395" sldId="2147483678"/>
          </pc:sldLayoutMkLst>
        </pc:sldLayoutChg>
        <pc:sldLayoutChg chg="del">
          <pc:chgData name="Christopher Schulz" userId="c7a37fbc-fc18-47fa-bc4e-1f96df76f530" providerId="ADAL" clId="{D7F914C0-A41A-D140-BD42-2AE8ADED66B5}" dt="2020-02-17T20:48:29.933" v="530" actId="2696"/>
          <pc:sldLayoutMkLst>
            <pc:docMk/>
            <pc:sldMasterMk cId="2394559101" sldId="2147483670"/>
            <pc:sldLayoutMk cId="2644237006" sldId="2147483679"/>
          </pc:sldLayoutMkLst>
        </pc:sldLayoutChg>
        <pc:sldLayoutChg chg="del">
          <pc:chgData name="Christopher Schulz" userId="c7a37fbc-fc18-47fa-bc4e-1f96df76f530" providerId="ADAL" clId="{D7F914C0-A41A-D140-BD42-2AE8ADED66B5}" dt="2020-02-17T20:48:29.934" v="531" actId="2696"/>
          <pc:sldLayoutMkLst>
            <pc:docMk/>
            <pc:sldMasterMk cId="2394559101" sldId="2147483670"/>
            <pc:sldLayoutMk cId="1323777053" sldId="2147483680"/>
          </pc:sldLayoutMkLst>
        </pc:sldLayoutChg>
        <pc:sldLayoutChg chg="del">
          <pc:chgData name="Christopher Schulz" userId="c7a37fbc-fc18-47fa-bc4e-1f96df76f530" providerId="ADAL" clId="{D7F914C0-A41A-D140-BD42-2AE8ADED66B5}" dt="2020-02-17T20:48:29.935" v="532" actId="2696"/>
          <pc:sldLayoutMkLst>
            <pc:docMk/>
            <pc:sldMasterMk cId="2394559101" sldId="2147483670"/>
            <pc:sldLayoutMk cId="3403866977" sldId="2147483681"/>
          </pc:sldLayoutMkLst>
        </pc:sldLayoutChg>
      </pc:sldMasterChg>
    </pc:docChg>
  </pc:docChgLst>
  <pc:docChgLst>
    <pc:chgData name="Christopher Schulz" userId="c7a37fbc-fc18-47fa-bc4e-1f96df76f530" providerId="ADAL" clId="{8D2418A3-ADC5-BF4A-ABEE-61CC6A10EE15}"/>
    <pc:docChg chg="undo custSel addSld delSld modSld delMainMaster">
      <pc:chgData name="Christopher Schulz" userId="c7a37fbc-fc18-47fa-bc4e-1f96df76f530" providerId="ADAL" clId="{8D2418A3-ADC5-BF4A-ABEE-61CC6A10EE15}" dt="2020-12-02T12:34:50.184" v="796" actId="1076"/>
      <pc:docMkLst>
        <pc:docMk/>
      </pc:docMkLst>
      <pc:sldChg chg="addSp delSp modSp mod">
        <pc:chgData name="Christopher Schulz" userId="c7a37fbc-fc18-47fa-bc4e-1f96df76f530" providerId="ADAL" clId="{8D2418A3-ADC5-BF4A-ABEE-61CC6A10EE15}" dt="2020-12-02T12:33:52.546" v="794" actId="20577"/>
        <pc:sldMkLst>
          <pc:docMk/>
          <pc:sldMk cId="3168066364" sldId="256"/>
        </pc:sldMkLst>
        <pc:spChg chg="mod">
          <ac:chgData name="Christopher Schulz" userId="c7a37fbc-fc18-47fa-bc4e-1f96df76f530" providerId="ADAL" clId="{8D2418A3-ADC5-BF4A-ABEE-61CC6A10EE15}" dt="2020-12-02T12:13:37.197" v="143" actId="20577"/>
          <ac:spMkLst>
            <pc:docMk/>
            <pc:sldMk cId="3168066364" sldId="256"/>
            <ac:spMk id="2" creationId="{D68C5A50-1913-4507-988E-B3319E45906C}"/>
          </ac:spMkLst>
        </pc:spChg>
        <pc:spChg chg="mod">
          <ac:chgData name="Christopher Schulz" userId="c7a37fbc-fc18-47fa-bc4e-1f96df76f530" providerId="ADAL" clId="{8D2418A3-ADC5-BF4A-ABEE-61CC6A10EE15}" dt="2020-12-02T12:13:43.651" v="152" actId="20577"/>
          <ac:spMkLst>
            <pc:docMk/>
            <pc:sldMk cId="3168066364" sldId="256"/>
            <ac:spMk id="3" creationId="{5F0B0340-28DE-4C04-BA5A-1EB9C2F0782D}"/>
          </ac:spMkLst>
        </pc:spChg>
        <pc:spChg chg="mod">
          <ac:chgData name="Christopher Schulz" userId="c7a37fbc-fc18-47fa-bc4e-1f96df76f530" providerId="ADAL" clId="{8D2418A3-ADC5-BF4A-ABEE-61CC6A10EE15}" dt="2020-12-02T12:19:20.556" v="361" actId="2711"/>
          <ac:spMkLst>
            <pc:docMk/>
            <pc:sldMk cId="3168066364" sldId="256"/>
            <ac:spMk id="10" creationId="{2073CBF1-6ED9-C044-B0A3-A75813C07F3A}"/>
          </ac:spMkLst>
        </pc:spChg>
        <pc:spChg chg="mod">
          <ac:chgData name="Christopher Schulz" userId="c7a37fbc-fc18-47fa-bc4e-1f96df76f530" providerId="ADAL" clId="{8D2418A3-ADC5-BF4A-ABEE-61CC6A10EE15}" dt="2020-12-02T12:19:20.556" v="361" actId="2711"/>
          <ac:spMkLst>
            <pc:docMk/>
            <pc:sldMk cId="3168066364" sldId="256"/>
            <ac:spMk id="57" creationId="{9C2557AD-EA62-7347-99D7-C9BD9A819FE9}"/>
          </ac:spMkLst>
        </pc:spChg>
        <pc:spChg chg="mod">
          <ac:chgData name="Christopher Schulz" userId="c7a37fbc-fc18-47fa-bc4e-1f96df76f530" providerId="ADAL" clId="{8D2418A3-ADC5-BF4A-ABEE-61CC6A10EE15}" dt="2020-12-02T12:19:20.556" v="361" actId="2711"/>
          <ac:spMkLst>
            <pc:docMk/>
            <pc:sldMk cId="3168066364" sldId="256"/>
            <ac:spMk id="58" creationId="{ABD9F008-7465-7F4C-8EE5-61052DE4C74E}"/>
          </ac:spMkLst>
        </pc:spChg>
        <pc:spChg chg="mod">
          <ac:chgData name="Christopher Schulz" userId="c7a37fbc-fc18-47fa-bc4e-1f96df76f530" providerId="ADAL" clId="{8D2418A3-ADC5-BF4A-ABEE-61CC6A10EE15}" dt="2020-12-02T12:19:20.556" v="361" actId="2711"/>
          <ac:spMkLst>
            <pc:docMk/>
            <pc:sldMk cId="3168066364" sldId="256"/>
            <ac:spMk id="59" creationId="{A5E9A9EE-6972-3048-A28D-4C84B0E15E04}"/>
          </ac:spMkLst>
        </pc:spChg>
        <pc:graphicFrameChg chg="mod modGraphic">
          <ac:chgData name="Christopher Schulz" userId="c7a37fbc-fc18-47fa-bc4e-1f96df76f530" providerId="ADAL" clId="{8D2418A3-ADC5-BF4A-ABEE-61CC6A10EE15}" dt="2020-12-02T12:33:52.546" v="794" actId="20577"/>
          <ac:graphicFrameMkLst>
            <pc:docMk/>
            <pc:sldMk cId="3168066364" sldId="256"/>
            <ac:graphicFrameMk id="55" creationId="{28AD745B-4B79-5E41-BAE0-1CEC30A7BFCA}"/>
          </ac:graphicFrameMkLst>
        </pc:graphicFrameChg>
        <pc:picChg chg="del mod">
          <ac:chgData name="Christopher Schulz" userId="c7a37fbc-fc18-47fa-bc4e-1f96df76f530" providerId="ADAL" clId="{8D2418A3-ADC5-BF4A-ABEE-61CC6A10EE15}" dt="2020-12-02T12:25:44.271" v="544" actId="478"/>
          <ac:picMkLst>
            <pc:docMk/>
            <pc:sldMk cId="3168066364" sldId="256"/>
            <ac:picMk id="5" creationId="{50358E79-15D7-8347-881A-ED26DF643DDA}"/>
          </ac:picMkLst>
        </pc:picChg>
        <pc:picChg chg="add mod">
          <ac:chgData name="Christopher Schulz" userId="c7a37fbc-fc18-47fa-bc4e-1f96df76f530" providerId="ADAL" clId="{8D2418A3-ADC5-BF4A-ABEE-61CC6A10EE15}" dt="2020-12-02T12:25:55.749" v="547" actId="207"/>
          <ac:picMkLst>
            <pc:docMk/>
            <pc:sldMk cId="3168066364" sldId="256"/>
            <ac:picMk id="6" creationId="{69187660-15BE-8947-93E6-848C44C0ECD3}"/>
          </ac:picMkLst>
        </pc:picChg>
        <pc:picChg chg="mod">
          <ac:chgData name="Christopher Schulz" userId="c7a37fbc-fc18-47fa-bc4e-1f96df76f530" providerId="ADAL" clId="{8D2418A3-ADC5-BF4A-ABEE-61CC6A10EE15}" dt="2020-12-02T12:23:45.899" v="526" actId="1076"/>
          <ac:picMkLst>
            <pc:docMk/>
            <pc:sldMk cId="3168066364" sldId="256"/>
            <ac:picMk id="7" creationId="{B24540CC-17CD-BE43-B761-6476459B3FF1}"/>
          </ac:picMkLst>
        </pc:picChg>
        <pc:picChg chg="mod">
          <ac:chgData name="Christopher Schulz" userId="c7a37fbc-fc18-47fa-bc4e-1f96df76f530" providerId="ADAL" clId="{8D2418A3-ADC5-BF4A-ABEE-61CC6A10EE15}" dt="2020-12-02T12:23:45.899" v="526" actId="1076"/>
          <ac:picMkLst>
            <pc:docMk/>
            <pc:sldMk cId="3168066364" sldId="256"/>
            <ac:picMk id="9" creationId="{8C617DAA-6CCE-F24B-A06E-C01CC3FAAD1E}"/>
          </ac:picMkLst>
        </pc:picChg>
        <pc:picChg chg="add del">
          <ac:chgData name="Christopher Schulz" userId="c7a37fbc-fc18-47fa-bc4e-1f96df76f530" providerId="ADAL" clId="{8D2418A3-ADC5-BF4A-ABEE-61CC6A10EE15}" dt="2020-12-02T12:24:28.559" v="541" actId="478"/>
          <ac:picMkLst>
            <pc:docMk/>
            <pc:sldMk cId="3168066364" sldId="256"/>
            <ac:picMk id="56" creationId="{F2950237-3A3D-2B4F-9C88-40949DCECD29}"/>
          </ac:picMkLst>
        </pc:picChg>
      </pc:sldChg>
      <pc:sldChg chg="modSp add del">
        <pc:chgData name="Christopher Schulz" userId="c7a37fbc-fc18-47fa-bc4e-1f96df76f530" providerId="ADAL" clId="{8D2418A3-ADC5-BF4A-ABEE-61CC6A10EE15}" dt="2020-12-02T12:28:41.961" v="657" actId="2696"/>
        <pc:sldMkLst>
          <pc:docMk/>
          <pc:sldMk cId="2447005741" sldId="258"/>
        </pc:sldMkLst>
        <pc:graphicFrameChg chg="mod">
          <ac:chgData name="Christopher Schulz" userId="c7a37fbc-fc18-47fa-bc4e-1f96df76f530" providerId="ADAL" clId="{8D2418A3-ADC5-BF4A-ABEE-61CC6A10EE15}" dt="2020-12-02T12:18:29.523" v="355"/>
          <ac:graphicFrameMkLst>
            <pc:docMk/>
            <pc:sldMk cId="2447005741" sldId="258"/>
            <ac:graphicFrameMk id="5" creationId="{67922E48-F7C5-5344-8152-08AE1A33D358}"/>
          </ac:graphicFrameMkLst>
        </pc:graphicFrameChg>
      </pc:sldChg>
      <pc:sldChg chg="addSp delSp modSp mod">
        <pc:chgData name="Christopher Schulz" userId="c7a37fbc-fc18-47fa-bc4e-1f96df76f530" providerId="ADAL" clId="{8D2418A3-ADC5-BF4A-ABEE-61CC6A10EE15}" dt="2020-12-02T12:32:57.899" v="787" actId="20577"/>
        <pc:sldMkLst>
          <pc:docMk/>
          <pc:sldMk cId="1472519979" sldId="436"/>
        </pc:sldMkLst>
        <pc:spChg chg="mod">
          <ac:chgData name="Christopher Schulz" userId="c7a37fbc-fc18-47fa-bc4e-1f96df76f530" providerId="ADAL" clId="{8D2418A3-ADC5-BF4A-ABEE-61CC6A10EE15}" dt="2020-12-02T12:32:23.904" v="695" actId="20577"/>
          <ac:spMkLst>
            <pc:docMk/>
            <pc:sldMk cId="1472519979" sldId="436"/>
            <ac:spMk id="9" creationId="{CF9ADDBA-443B-204E-B32A-778FA29DB81E}"/>
          </ac:spMkLst>
        </pc:spChg>
        <pc:spChg chg="mod">
          <ac:chgData name="Christopher Schulz" userId="c7a37fbc-fc18-47fa-bc4e-1f96df76f530" providerId="ADAL" clId="{8D2418A3-ADC5-BF4A-ABEE-61CC6A10EE15}" dt="2020-12-02T12:32:57.899" v="787" actId="20577"/>
          <ac:spMkLst>
            <pc:docMk/>
            <pc:sldMk cId="1472519979" sldId="436"/>
            <ac:spMk id="10" creationId="{274B8FD3-DE57-F04F-8CE3-DD4FB0B74771}"/>
          </ac:spMkLst>
        </pc:spChg>
        <pc:picChg chg="del">
          <ac:chgData name="Christopher Schulz" userId="c7a37fbc-fc18-47fa-bc4e-1f96df76f530" providerId="ADAL" clId="{8D2418A3-ADC5-BF4A-ABEE-61CC6A10EE15}" dt="2020-12-02T12:31:16.664" v="672" actId="478"/>
          <ac:picMkLst>
            <pc:docMk/>
            <pc:sldMk cId="1472519979" sldId="436"/>
            <ac:picMk id="7" creationId="{301A4DA2-27BA-694C-B28B-1E2FD338D7BA}"/>
          </ac:picMkLst>
        </pc:picChg>
        <pc:picChg chg="add del mod">
          <ac:chgData name="Christopher Schulz" userId="c7a37fbc-fc18-47fa-bc4e-1f96df76f530" providerId="ADAL" clId="{8D2418A3-ADC5-BF4A-ABEE-61CC6A10EE15}" dt="2020-12-02T12:32:07.786" v="681"/>
          <ac:picMkLst>
            <pc:docMk/>
            <pc:sldMk cId="1472519979" sldId="436"/>
            <ac:picMk id="8" creationId="{92209BE1-1AD5-CD44-B166-D781B4FB3202}"/>
          </ac:picMkLst>
        </pc:picChg>
        <pc:picChg chg="add del mod">
          <ac:chgData name="Christopher Schulz" userId="c7a37fbc-fc18-47fa-bc4e-1f96df76f530" providerId="ADAL" clId="{8D2418A3-ADC5-BF4A-ABEE-61CC6A10EE15}" dt="2020-12-02T12:32:18.114" v="683" actId="14100"/>
          <ac:picMkLst>
            <pc:docMk/>
            <pc:sldMk cId="1472519979" sldId="436"/>
            <ac:picMk id="3074" creationId="{27660698-CB19-914E-9006-16A2AF7F0F97}"/>
          </ac:picMkLst>
        </pc:picChg>
      </pc:sldChg>
      <pc:sldChg chg="addSp delSp modSp mod">
        <pc:chgData name="Christopher Schulz" userId="c7a37fbc-fc18-47fa-bc4e-1f96df76f530" providerId="ADAL" clId="{8D2418A3-ADC5-BF4A-ABEE-61CC6A10EE15}" dt="2020-12-02T12:13:17.428" v="141" actId="1076"/>
        <pc:sldMkLst>
          <pc:docMk/>
          <pc:sldMk cId="3209056058" sldId="440"/>
        </pc:sldMkLst>
        <pc:spChg chg="mod">
          <ac:chgData name="Christopher Schulz" userId="c7a37fbc-fc18-47fa-bc4e-1f96df76f530" providerId="ADAL" clId="{8D2418A3-ADC5-BF4A-ABEE-61CC6A10EE15}" dt="2020-12-02T12:13:17.428" v="141" actId="1076"/>
          <ac:spMkLst>
            <pc:docMk/>
            <pc:sldMk cId="3209056058" sldId="440"/>
            <ac:spMk id="12" creationId="{32EF9AB9-F3CC-6340-AFA5-FD80FF545825}"/>
          </ac:spMkLst>
        </pc:spChg>
        <pc:spChg chg="mod">
          <ac:chgData name="Christopher Schulz" userId="c7a37fbc-fc18-47fa-bc4e-1f96df76f530" providerId="ADAL" clId="{8D2418A3-ADC5-BF4A-ABEE-61CC6A10EE15}" dt="2020-12-02T12:09:18.310" v="129" actId="20577"/>
          <ac:spMkLst>
            <pc:docMk/>
            <pc:sldMk cId="3209056058" sldId="440"/>
            <ac:spMk id="16" creationId="{B6283CED-F12B-D640-B69C-31DCB8F74681}"/>
          </ac:spMkLst>
        </pc:spChg>
        <pc:picChg chg="del">
          <ac:chgData name="Christopher Schulz" userId="c7a37fbc-fc18-47fa-bc4e-1f96df76f530" providerId="ADAL" clId="{8D2418A3-ADC5-BF4A-ABEE-61CC6A10EE15}" dt="2020-12-02T12:11:17.719" v="131" actId="478"/>
          <ac:picMkLst>
            <pc:docMk/>
            <pc:sldMk cId="3209056058" sldId="440"/>
            <ac:picMk id="3" creationId="{2C11F806-B0FD-6442-90C1-E538223D395C}"/>
          </ac:picMkLst>
        </pc:picChg>
        <pc:picChg chg="add del mod">
          <ac:chgData name="Christopher Schulz" userId="c7a37fbc-fc18-47fa-bc4e-1f96df76f530" providerId="ADAL" clId="{8D2418A3-ADC5-BF4A-ABEE-61CC6A10EE15}" dt="2020-12-02T12:11:33.461" v="133" actId="478"/>
          <ac:picMkLst>
            <pc:docMk/>
            <pc:sldMk cId="3209056058" sldId="440"/>
            <ac:picMk id="4" creationId="{8543AD39-8142-3347-86E6-B77F91B9F508}"/>
          </ac:picMkLst>
        </pc:picChg>
        <pc:picChg chg="add mod modCrop">
          <ac:chgData name="Christopher Schulz" userId="c7a37fbc-fc18-47fa-bc4e-1f96df76f530" providerId="ADAL" clId="{8D2418A3-ADC5-BF4A-ABEE-61CC6A10EE15}" dt="2020-12-02T12:12:59.671" v="139" actId="167"/>
          <ac:picMkLst>
            <pc:docMk/>
            <pc:sldMk cId="3209056058" sldId="440"/>
            <ac:picMk id="6" creationId="{702C7D4D-AF45-4F41-947C-0A3E341D8A88}"/>
          </ac:picMkLst>
        </pc:picChg>
      </pc:sldChg>
      <pc:sldChg chg="addSp delSp modSp add mod">
        <pc:chgData name="Christopher Schulz" userId="c7a37fbc-fc18-47fa-bc4e-1f96df76f530" providerId="ADAL" clId="{8D2418A3-ADC5-BF4A-ABEE-61CC6A10EE15}" dt="2020-12-02T12:34:50.184" v="796" actId="1076"/>
        <pc:sldMkLst>
          <pc:docMk/>
          <pc:sldMk cId="3570320842" sldId="441"/>
        </pc:sldMkLst>
        <pc:spChg chg="mod">
          <ac:chgData name="Christopher Schulz" userId="c7a37fbc-fc18-47fa-bc4e-1f96df76f530" providerId="ADAL" clId="{8D2418A3-ADC5-BF4A-ABEE-61CC6A10EE15}" dt="2020-12-02T12:17:55.059" v="353" actId="20577"/>
          <ac:spMkLst>
            <pc:docMk/>
            <pc:sldMk cId="3570320842" sldId="441"/>
            <ac:spMk id="2" creationId="{D68C5A50-1913-4507-988E-B3319E45906C}"/>
          </ac:spMkLst>
        </pc:spChg>
        <pc:spChg chg="mod">
          <ac:chgData name="Christopher Schulz" userId="c7a37fbc-fc18-47fa-bc4e-1f96df76f530" providerId="ADAL" clId="{8D2418A3-ADC5-BF4A-ABEE-61CC6A10EE15}" dt="2020-12-02T12:28:37.415" v="656" actId="20577"/>
          <ac:spMkLst>
            <pc:docMk/>
            <pc:sldMk cId="3570320842" sldId="441"/>
            <ac:spMk id="3" creationId="{5F0B0340-28DE-4C04-BA5A-1EB9C2F0782D}"/>
          </ac:spMkLst>
        </pc:spChg>
        <pc:spChg chg="del">
          <ac:chgData name="Christopher Schulz" userId="c7a37fbc-fc18-47fa-bc4e-1f96df76f530" providerId="ADAL" clId="{8D2418A3-ADC5-BF4A-ABEE-61CC6A10EE15}" dt="2020-12-02T12:18:17.212" v="354" actId="478"/>
          <ac:spMkLst>
            <pc:docMk/>
            <pc:sldMk cId="3570320842" sldId="441"/>
            <ac:spMk id="10" creationId="{2073CBF1-6ED9-C044-B0A3-A75813C07F3A}"/>
          </ac:spMkLst>
        </pc:spChg>
        <pc:spChg chg="add mod">
          <ac:chgData name="Christopher Schulz" userId="c7a37fbc-fc18-47fa-bc4e-1f96df76f530" providerId="ADAL" clId="{8D2418A3-ADC5-BF4A-ABEE-61CC6A10EE15}" dt="2020-12-02T12:34:50.184" v="796" actId="1076"/>
          <ac:spMkLst>
            <pc:docMk/>
            <pc:sldMk cId="3570320842" sldId="441"/>
            <ac:spMk id="19" creationId="{F0FADED0-ACA6-A84B-9490-DE0D30EB722C}"/>
          </ac:spMkLst>
        </pc:spChg>
        <pc:spChg chg="del">
          <ac:chgData name="Christopher Schulz" userId="c7a37fbc-fc18-47fa-bc4e-1f96df76f530" providerId="ADAL" clId="{8D2418A3-ADC5-BF4A-ABEE-61CC6A10EE15}" dt="2020-12-02T12:18:17.212" v="354" actId="478"/>
          <ac:spMkLst>
            <pc:docMk/>
            <pc:sldMk cId="3570320842" sldId="441"/>
            <ac:spMk id="57" creationId="{9C2557AD-EA62-7347-99D7-C9BD9A819FE9}"/>
          </ac:spMkLst>
        </pc:spChg>
        <pc:spChg chg="del">
          <ac:chgData name="Christopher Schulz" userId="c7a37fbc-fc18-47fa-bc4e-1f96df76f530" providerId="ADAL" clId="{8D2418A3-ADC5-BF4A-ABEE-61CC6A10EE15}" dt="2020-12-02T12:18:17.212" v="354" actId="478"/>
          <ac:spMkLst>
            <pc:docMk/>
            <pc:sldMk cId="3570320842" sldId="441"/>
            <ac:spMk id="58" creationId="{ABD9F008-7465-7F4C-8EE5-61052DE4C74E}"/>
          </ac:spMkLst>
        </pc:spChg>
        <pc:spChg chg="del">
          <ac:chgData name="Christopher Schulz" userId="c7a37fbc-fc18-47fa-bc4e-1f96df76f530" providerId="ADAL" clId="{8D2418A3-ADC5-BF4A-ABEE-61CC6A10EE15}" dt="2020-12-02T12:18:17.212" v="354" actId="478"/>
          <ac:spMkLst>
            <pc:docMk/>
            <pc:sldMk cId="3570320842" sldId="441"/>
            <ac:spMk id="59" creationId="{A5E9A9EE-6972-3048-A28D-4C84B0E15E04}"/>
          </ac:spMkLst>
        </pc:spChg>
        <pc:graphicFrameChg chg="add mod modGraphic">
          <ac:chgData name="Christopher Schulz" userId="c7a37fbc-fc18-47fa-bc4e-1f96df76f530" providerId="ADAL" clId="{8D2418A3-ADC5-BF4A-ABEE-61CC6A10EE15}" dt="2020-12-02T12:24:10.305" v="539" actId="20577"/>
          <ac:graphicFrameMkLst>
            <pc:docMk/>
            <pc:sldMk cId="3570320842" sldId="441"/>
            <ac:graphicFrameMk id="17" creationId="{8CF52504-E0F9-DC42-A052-C78E8612A202}"/>
          </ac:graphicFrameMkLst>
        </pc:graphicFrameChg>
        <pc:graphicFrameChg chg="del">
          <ac:chgData name="Christopher Schulz" userId="c7a37fbc-fc18-47fa-bc4e-1f96df76f530" providerId="ADAL" clId="{8D2418A3-ADC5-BF4A-ABEE-61CC6A10EE15}" dt="2020-12-02T12:18:17.212" v="354" actId="478"/>
          <ac:graphicFrameMkLst>
            <pc:docMk/>
            <pc:sldMk cId="3570320842" sldId="441"/>
            <ac:graphicFrameMk id="55" creationId="{28AD745B-4B79-5E41-BAE0-1CEC30A7BFCA}"/>
          </ac:graphicFrameMkLst>
        </pc:graphicFrameChg>
        <pc:picChg chg="del">
          <ac:chgData name="Christopher Schulz" userId="c7a37fbc-fc18-47fa-bc4e-1f96df76f530" providerId="ADAL" clId="{8D2418A3-ADC5-BF4A-ABEE-61CC6A10EE15}" dt="2020-12-02T12:18:17.212" v="354" actId="478"/>
          <ac:picMkLst>
            <pc:docMk/>
            <pc:sldMk cId="3570320842" sldId="441"/>
            <ac:picMk id="5" creationId="{50358E79-15D7-8347-881A-ED26DF643DDA}"/>
          </ac:picMkLst>
        </pc:picChg>
        <pc:picChg chg="add mod">
          <ac:chgData name="Christopher Schulz" userId="c7a37fbc-fc18-47fa-bc4e-1f96df76f530" providerId="ADAL" clId="{8D2418A3-ADC5-BF4A-ABEE-61CC6A10EE15}" dt="2020-12-02T12:27:33.970" v="552" actId="1076"/>
          <ac:picMkLst>
            <pc:docMk/>
            <pc:sldMk cId="3570320842" sldId="441"/>
            <ac:picMk id="6" creationId="{74620A32-278C-A549-986E-514490997232}"/>
          </ac:picMkLst>
        </pc:picChg>
        <pc:picChg chg="del">
          <ac:chgData name="Christopher Schulz" userId="c7a37fbc-fc18-47fa-bc4e-1f96df76f530" providerId="ADAL" clId="{8D2418A3-ADC5-BF4A-ABEE-61CC6A10EE15}" dt="2020-12-02T12:18:17.212" v="354" actId="478"/>
          <ac:picMkLst>
            <pc:docMk/>
            <pc:sldMk cId="3570320842" sldId="441"/>
            <ac:picMk id="7" creationId="{B24540CC-17CD-BE43-B761-6476459B3FF1}"/>
          </ac:picMkLst>
        </pc:picChg>
        <pc:picChg chg="del">
          <ac:chgData name="Christopher Schulz" userId="c7a37fbc-fc18-47fa-bc4e-1f96df76f530" providerId="ADAL" clId="{8D2418A3-ADC5-BF4A-ABEE-61CC6A10EE15}" dt="2020-12-02T12:18:17.212" v="354" actId="478"/>
          <ac:picMkLst>
            <pc:docMk/>
            <pc:sldMk cId="3570320842" sldId="441"/>
            <ac:picMk id="9" creationId="{8C617DAA-6CCE-F24B-A06E-C01CC3FAAD1E}"/>
          </ac:picMkLst>
        </pc:picChg>
        <pc:picChg chg="del">
          <ac:chgData name="Christopher Schulz" userId="c7a37fbc-fc18-47fa-bc4e-1f96df76f530" providerId="ADAL" clId="{8D2418A3-ADC5-BF4A-ABEE-61CC6A10EE15}" dt="2020-12-02T12:18:17.212" v="354" actId="478"/>
          <ac:picMkLst>
            <pc:docMk/>
            <pc:sldMk cId="3570320842" sldId="441"/>
            <ac:picMk id="12" creationId="{0FD342CB-0333-DF4F-83A7-84628271E3EB}"/>
          </ac:picMkLst>
        </pc:picChg>
        <pc:picChg chg="del">
          <ac:chgData name="Christopher Schulz" userId="c7a37fbc-fc18-47fa-bc4e-1f96df76f530" providerId="ADAL" clId="{8D2418A3-ADC5-BF4A-ABEE-61CC6A10EE15}" dt="2020-12-02T12:18:17.212" v="354" actId="478"/>
          <ac:picMkLst>
            <pc:docMk/>
            <pc:sldMk cId="3570320842" sldId="441"/>
            <ac:picMk id="16" creationId="{831D6680-7CD0-594C-9B39-C11EA5C91A54}"/>
          </ac:picMkLst>
        </pc:picChg>
        <pc:picChg chg="del">
          <ac:chgData name="Christopher Schulz" userId="c7a37fbc-fc18-47fa-bc4e-1f96df76f530" providerId="ADAL" clId="{8D2418A3-ADC5-BF4A-ABEE-61CC6A10EE15}" dt="2020-12-02T12:18:17.212" v="354" actId="478"/>
          <ac:picMkLst>
            <pc:docMk/>
            <pc:sldMk cId="3570320842" sldId="441"/>
            <ac:picMk id="18" creationId="{096B4451-5C5B-E94A-8D65-83C114065E47}"/>
          </ac:picMkLst>
        </pc:picChg>
        <pc:picChg chg="del">
          <ac:chgData name="Christopher Schulz" userId="c7a37fbc-fc18-47fa-bc4e-1f96df76f530" providerId="ADAL" clId="{8D2418A3-ADC5-BF4A-ABEE-61CC6A10EE15}" dt="2020-12-02T12:18:17.212" v="354" actId="478"/>
          <ac:picMkLst>
            <pc:docMk/>
            <pc:sldMk cId="3570320842" sldId="441"/>
            <ac:picMk id="20" creationId="{72AAD3AF-D415-D942-83C4-5E06BF1272DD}"/>
          </ac:picMkLst>
        </pc:picChg>
        <pc:picChg chg="del">
          <ac:chgData name="Christopher Schulz" userId="c7a37fbc-fc18-47fa-bc4e-1f96df76f530" providerId="ADAL" clId="{8D2418A3-ADC5-BF4A-ABEE-61CC6A10EE15}" dt="2020-12-02T12:18:17.212" v="354" actId="478"/>
          <ac:picMkLst>
            <pc:docMk/>
            <pc:sldMk cId="3570320842" sldId="441"/>
            <ac:picMk id="56" creationId="{F2950237-3A3D-2B4F-9C88-40949DCECD29}"/>
          </ac:picMkLst>
        </pc:picChg>
      </pc:sldChg>
      <pc:sldMasterChg chg="del delSldLayout">
        <pc:chgData name="Christopher Schulz" userId="c7a37fbc-fc18-47fa-bc4e-1f96df76f530" providerId="ADAL" clId="{8D2418A3-ADC5-BF4A-ABEE-61CC6A10EE15}" dt="2020-12-02T12:28:41.961" v="657" actId="2696"/>
        <pc:sldMasterMkLst>
          <pc:docMk/>
          <pc:sldMasterMk cId="2143576196" sldId="2147483670"/>
        </pc:sldMasterMkLst>
        <pc:sldLayoutChg chg="del">
          <pc:chgData name="Christopher Schulz" userId="c7a37fbc-fc18-47fa-bc4e-1f96df76f530" providerId="ADAL" clId="{8D2418A3-ADC5-BF4A-ABEE-61CC6A10EE15}" dt="2020-12-02T12:28:41.961" v="657" actId="2696"/>
          <pc:sldLayoutMkLst>
            <pc:docMk/>
            <pc:sldMasterMk cId="2143576196" sldId="2147483670"/>
            <pc:sldLayoutMk cId="3589650255" sldId="2147483671"/>
          </pc:sldLayoutMkLst>
        </pc:sldLayoutChg>
      </pc:sldMasterChg>
    </pc:docChg>
  </pc:docChgLst>
  <pc:docChgLst>
    <pc:chgData name="Christopher Schulz" userId="c7a37fbc-fc18-47fa-bc4e-1f96df76f530" providerId="ADAL" clId="{FC6C04DC-704E-5042-B52F-FC3A30B1514F}"/>
    <pc:docChg chg="undo custSel addSld delSld modSld">
      <pc:chgData name="Christopher Schulz" userId="c7a37fbc-fc18-47fa-bc4e-1f96df76f530" providerId="ADAL" clId="{FC6C04DC-704E-5042-B52F-FC3A30B1514F}" dt="2020-11-18T05:48:12.712" v="286" actId="20577"/>
      <pc:docMkLst>
        <pc:docMk/>
      </pc:docMkLst>
      <pc:sldChg chg="addSp delSp modSp mod chgLayout">
        <pc:chgData name="Christopher Schulz" userId="c7a37fbc-fc18-47fa-bc4e-1f96df76f530" providerId="ADAL" clId="{FC6C04DC-704E-5042-B52F-FC3A30B1514F}" dt="2020-11-17T19:09:56.448" v="26" actId="478"/>
        <pc:sldMkLst>
          <pc:docMk/>
          <pc:sldMk cId="3168066364" sldId="256"/>
        </pc:sldMkLst>
        <pc:spChg chg="mod ord">
          <ac:chgData name="Christopher Schulz" userId="c7a37fbc-fc18-47fa-bc4e-1f96df76f530" providerId="ADAL" clId="{FC6C04DC-704E-5042-B52F-FC3A30B1514F}" dt="2020-11-17T19:09:54.079" v="25" actId="700"/>
          <ac:spMkLst>
            <pc:docMk/>
            <pc:sldMk cId="3168066364" sldId="256"/>
            <ac:spMk id="2" creationId="{D68C5A50-1913-4507-988E-B3319E45906C}"/>
          </ac:spMkLst>
        </pc:spChg>
        <pc:spChg chg="mod ord">
          <ac:chgData name="Christopher Schulz" userId="c7a37fbc-fc18-47fa-bc4e-1f96df76f530" providerId="ADAL" clId="{FC6C04DC-704E-5042-B52F-FC3A30B1514F}" dt="2020-11-17T19:09:54.079" v="25" actId="700"/>
          <ac:spMkLst>
            <pc:docMk/>
            <pc:sldMk cId="3168066364" sldId="256"/>
            <ac:spMk id="3" creationId="{5F0B0340-28DE-4C04-BA5A-1EB9C2F0782D}"/>
          </ac:spMkLst>
        </pc:spChg>
        <pc:spChg chg="add del mod ord">
          <ac:chgData name="Christopher Schulz" userId="c7a37fbc-fc18-47fa-bc4e-1f96df76f530" providerId="ADAL" clId="{FC6C04DC-704E-5042-B52F-FC3A30B1514F}" dt="2020-11-17T19:09:56.448" v="26" actId="478"/>
          <ac:spMkLst>
            <pc:docMk/>
            <pc:sldMk cId="3168066364" sldId="256"/>
            <ac:spMk id="4" creationId="{1860D6F1-C7CB-1742-82C1-334F9C936222}"/>
          </ac:spMkLst>
        </pc:spChg>
        <pc:spChg chg="add mod">
          <ac:chgData name="Christopher Schulz" userId="c7a37fbc-fc18-47fa-bc4e-1f96df76f530" providerId="ADAL" clId="{FC6C04DC-704E-5042-B52F-FC3A30B1514F}" dt="2020-11-17T19:07:41.286" v="9" actId="207"/>
          <ac:spMkLst>
            <pc:docMk/>
            <pc:sldMk cId="3168066364" sldId="256"/>
            <ac:spMk id="28" creationId="{993A75D2-698C-F34A-A4D3-6FA98293C1F1}"/>
          </ac:spMkLst>
        </pc:spChg>
        <pc:spChg chg="add mod">
          <ac:chgData name="Christopher Schulz" userId="c7a37fbc-fc18-47fa-bc4e-1f96df76f530" providerId="ADAL" clId="{FC6C04DC-704E-5042-B52F-FC3A30B1514F}" dt="2020-11-17T19:07:41.286" v="9" actId="207"/>
          <ac:spMkLst>
            <pc:docMk/>
            <pc:sldMk cId="3168066364" sldId="256"/>
            <ac:spMk id="29" creationId="{41A6BA53-82AB-F64F-851B-D5E4E2C3C1BC}"/>
          </ac:spMkLst>
        </pc:spChg>
        <pc:spChg chg="add mod">
          <ac:chgData name="Christopher Schulz" userId="c7a37fbc-fc18-47fa-bc4e-1f96df76f530" providerId="ADAL" clId="{FC6C04DC-704E-5042-B52F-FC3A30B1514F}" dt="2020-11-17T19:07:41.286" v="9" actId="207"/>
          <ac:spMkLst>
            <pc:docMk/>
            <pc:sldMk cId="3168066364" sldId="256"/>
            <ac:spMk id="30" creationId="{A165F9A2-D236-6B4D-ABCC-0F7F06E8D023}"/>
          </ac:spMkLst>
        </pc:spChg>
        <pc:spChg chg="add mod">
          <ac:chgData name="Christopher Schulz" userId="c7a37fbc-fc18-47fa-bc4e-1f96df76f530" providerId="ADAL" clId="{FC6C04DC-704E-5042-B52F-FC3A30B1514F}" dt="2020-11-17T19:07:41.286" v="9" actId="207"/>
          <ac:spMkLst>
            <pc:docMk/>
            <pc:sldMk cId="3168066364" sldId="256"/>
            <ac:spMk id="31" creationId="{A2FC42A3-812D-DD4B-AA7A-6C8C5D121E5D}"/>
          </ac:spMkLst>
        </pc:spChg>
        <pc:spChg chg="add mod">
          <ac:chgData name="Christopher Schulz" userId="c7a37fbc-fc18-47fa-bc4e-1f96df76f530" providerId="ADAL" clId="{FC6C04DC-704E-5042-B52F-FC3A30B1514F}" dt="2020-11-17T19:07:41.286" v="9" actId="207"/>
          <ac:spMkLst>
            <pc:docMk/>
            <pc:sldMk cId="3168066364" sldId="256"/>
            <ac:spMk id="32" creationId="{77BC1A88-F7A0-344F-AA51-F843D7DF80D7}"/>
          </ac:spMkLst>
        </pc:spChg>
        <pc:spChg chg="add mod">
          <ac:chgData name="Christopher Schulz" userId="c7a37fbc-fc18-47fa-bc4e-1f96df76f530" providerId="ADAL" clId="{FC6C04DC-704E-5042-B52F-FC3A30B1514F}" dt="2020-11-17T19:06:46.531" v="3" actId="207"/>
          <ac:spMkLst>
            <pc:docMk/>
            <pc:sldMk cId="3168066364" sldId="256"/>
            <ac:spMk id="33" creationId="{337B578D-92F6-1E46-B629-139A96E209F0}"/>
          </ac:spMkLst>
        </pc:spChg>
        <pc:spChg chg="add mod">
          <ac:chgData name="Christopher Schulz" userId="c7a37fbc-fc18-47fa-bc4e-1f96df76f530" providerId="ADAL" clId="{FC6C04DC-704E-5042-B52F-FC3A30B1514F}" dt="2020-11-17T19:06:46.531" v="3" actId="207"/>
          <ac:spMkLst>
            <pc:docMk/>
            <pc:sldMk cId="3168066364" sldId="256"/>
            <ac:spMk id="34" creationId="{67C883F5-1969-3A45-9C21-B5D2CF28A5BA}"/>
          </ac:spMkLst>
        </pc:spChg>
        <pc:spChg chg="add mod">
          <ac:chgData name="Christopher Schulz" userId="c7a37fbc-fc18-47fa-bc4e-1f96df76f530" providerId="ADAL" clId="{FC6C04DC-704E-5042-B52F-FC3A30B1514F}" dt="2020-11-17T19:06:46.531" v="3" actId="207"/>
          <ac:spMkLst>
            <pc:docMk/>
            <pc:sldMk cId="3168066364" sldId="256"/>
            <ac:spMk id="35" creationId="{66BF1476-6EAF-2644-A18D-0654A7E4ED9B}"/>
          </ac:spMkLst>
        </pc:spChg>
        <pc:spChg chg="add mod">
          <ac:chgData name="Christopher Schulz" userId="c7a37fbc-fc18-47fa-bc4e-1f96df76f530" providerId="ADAL" clId="{FC6C04DC-704E-5042-B52F-FC3A30B1514F}" dt="2020-11-17T19:06:46.531" v="3" actId="207"/>
          <ac:spMkLst>
            <pc:docMk/>
            <pc:sldMk cId="3168066364" sldId="256"/>
            <ac:spMk id="36" creationId="{8676848F-8274-B043-BBDA-7FAA1016920B}"/>
          </ac:spMkLst>
        </pc:spChg>
        <pc:spChg chg="add mod">
          <ac:chgData name="Christopher Schulz" userId="c7a37fbc-fc18-47fa-bc4e-1f96df76f530" providerId="ADAL" clId="{FC6C04DC-704E-5042-B52F-FC3A30B1514F}" dt="2020-11-17T19:06:46.531" v="3" actId="207"/>
          <ac:spMkLst>
            <pc:docMk/>
            <pc:sldMk cId="3168066364" sldId="256"/>
            <ac:spMk id="37" creationId="{377B1386-06A4-804C-888F-640DB0DD37A2}"/>
          </ac:spMkLst>
        </pc:spChg>
        <pc:spChg chg="add mod">
          <ac:chgData name="Christopher Schulz" userId="c7a37fbc-fc18-47fa-bc4e-1f96df76f530" providerId="ADAL" clId="{FC6C04DC-704E-5042-B52F-FC3A30B1514F}" dt="2020-11-17T19:09:23.770" v="23" actId="207"/>
          <ac:spMkLst>
            <pc:docMk/>
            <pc:sldMk cId="3168066364" sldId="256"/>
            <ac:spMk id="48" creationId="{DAAA758C-0969-614C-BC21-80AA6498D771}"/>
          </ac:spMkLst>
        </pc:spChg>
        <pc:spChg chg="add mod">
          <ac:chgData name="Christopher Schulz" userId="c7a37fbc-fc18-47fa-bc4e-1f96df76f530" providerId="ADAL" clId="{FC6C04DC-704E-5042-B52F-FC3A30B1514F}" dt="2020-11-17T19:09:23.770" v="23" actId="207"/>
          <ac:spMkLst>
            <pc:docMk/>
            <pc:sldMk cId="3168066364" sldId="256"/>
            <ac:spMk id="49" creationId="{0ABCCA14-E445-2C46-ABF0-C9D8D859EA8F}"/>
          </ac:spMkLst>
        </pc:spChg>
        <pc:spChg chg="add mod">
          <ac:chgData name="Christopher Schulz" userId="c7a37fbc-fc18-47fa-bc4e-1f96df76f530" providerId="ADAL" clId="{FC6C04DC-704E-5042-B52F-FC3A30B1514F}" dt="2020-11-17T19:09:23.770" v="23" actId="207"/>
          <ac:spMkLst>
            <pc:docMk/>
            <pc:sldMk cId="3168066364" sldId="256"/>
            <ac:spMk id="50" creationId="{211F2800-C00E-3641-A785-E94776BCA1E4}"/>
          </ac:spMkLst>
        </pc:spChg>
        <pc:spChg chg="add mod">
          <ac:chgData name="Christopher Schulz" userId="c7a37fbc-fc18-47fa-bc4e-1f96df76f530" providerId="ADAL" clId="{FC6C04DC-704E-5042-B52F-FC3A30B1514F}" dt="2020-11-17T19:09:23.770" v="23" actId="207"/>
          <ac:spMkLst>
            <pc:docMk/>
            <pc:sldMk cId="3168066364" sldId="256"/>
            <ac:spMk id="51" creationId="{BAE80A55-CBF0-9844-B2DE-0E5192566324}"/>
          </ac:spMkLst>
        </pc:spChg>
        <pc:spChg chg="add mod">
          <ac:chgData name="Christopher Schulz" userId="c7a37fbc-fc18-47fa-bc4e-1f96df76f530" providerId="ADAL" clId="{FC6C04DC-704E-5042-B52F-FC3A30B1514F}" dt="2020-11-17T19:09:23.770" v="23" actId="207"/>
          <ac:spMkLst>
            <pc:docMk/>
            <pc:sldMk cId="3168066364" sldId="256"/>
            <ac:spMk id="52" creationId="{A692514C-9A90-BC48-97DB-AE7B340013DE}"/>
          </ac:spMkLst>
        </pc:spChg>
        <pc:spChg chg="del">
          <ac:chgData name="Christopher Schulz" userId="c7a37fbc-fc18-47fa-bc4e-1f96df76f530" providerId="ADAL" clId="{FC6C04DC-704E-5042-B52F-FC3A30B1514F}" dt="2020-11-17T19:06:34.682" v="1" actId="478"/>
          <ac:spMkLst>
            <pc:docMk/>
            <pc:sldMk cId="3168066364" sldId="256"/>
            <ac:spMk id="53" creationId="{0D333FBC-7AA1-A448-A521-AD576F96D878}"/>
          </ac:spMkLst>
        </pc:spChg>
        <pc:spChg chg="del">
          <ac:chgData name="Christopher Schulz" userId="c7a37fbc-fc18-47fa-bc4e-1f96df76f530" providerId="ADAL" clId="{FC6C04DC-704E-5042-B52F-FC3A30B1514F}" dt="2020-11-17T19:06:34.682" v="1" actId="478"/>
          <ac:spMkLst>
            <pc:docMk/>
            <pc:sldMk cId="3168066364" sldId="256"/>
            <ac:spMk id="54" creationId="{E53354FD-A7ED-F741-90BC-3497A87A2154}"/>
          </ac:spMkLst>
        </pc:spChg>
        <pc:spChg chg="del">
          <ac:chgData name="Christopher Schulz" userId="c7a37fbc-fc18-47fa-bc4e-1f96df76f530" providerId="ADAL" clId="{FC6C04DC-704E-5042-B52F-FC3A30B1514F}" dt="2020-11-17T19:06:34.682" v="1" actId="478"/>
          <ac:spMkLst>
            <pc:docMk/>
            <pc:sldMk cId="3168066364" sldId="256"/>
            <ac:spMk id="59" creationId="{5F08C03D-6BF7-124E-BC37-F5B4330636A9}"/>
          </ac:spMkLst>
        </pc:spChg>
        <pc:spChg chg="del">
          <ac:chgData name="Christopher Schulz" userId="c7a37fbc-fc18-47fa-bc4e-1f96df76f530" providerId="ADAL" clId="{FC6C04DC-704E-5042-B52F-FC3A30B1514F}" dt="2020-11-17T19:06:34.682" v="1" actId="478"/>
          <ac:spMkLst>
            <pc:docMk/>
            <pc:sldMk cId="3168066364" sldId="256"/>
            <ac:spMk id="60" creationId="{FBEF7467-2272-8C42-A10A-0A45907C2AF1}"/>
          </ac:spMkLst>
        </pc:spChg>
        <pc:spChg chg="del">
          <ac:chgData name="Christopher Schulz" userId="c7a37fbc-fc18-47fa-bc4e-1f96df76f530" providerId="ADAL" clId="{FC6C04DC-704E-5042-B52F-FC3A30B1514F}" dt="2020-11-17T19:06:34.682" v="1" actId="478"/>
          <ac:spMkLst>
            <pc:docMk/>
            <pc:sldMk cId="3168066364" sldId="256"/>
            <ac:spMk id="61" creationId="{71C73527-1EEC-9C4B-9089-00F8C16AD414}"/>
          </ac:spMkLst>
        </pc:spChg>
        <pc:spChg chg="del">
          <ac:chgData name="Christopher Schulz" userId="c7a37fbc-fc18-47fa-bc4e-1f96df76f530" providerId="ADAL" clId="{FC6C04DC-704E-5042-B52F-FC3A30B1514F}" dt="2020-11-17T19:06:34.682" v="1" actId="478"/>
          <ac:spMkLst>
            <pc:docMk/>
            <pc:sldMk cId="3168066364" sldId="256"/>
            <ac:spMk id="62" creationId="{957A65AE-4A05-7945-BE35-6ACB3C3617CB}"/>
          </ac:spMkLst>
        </pc:spChg>
        <pc:spChg chg="del">
          <ac:chgData name="Christopher Schulz" userId="c7a37fbc-fc18-47fa-bc4e-1f96df76f530" providerId="ADAL" clId="{FC6C04DC-704E-5042-B52F-FC3A30B1514F}" dt="2020-11-17T19:06:34.682" v="1" actId="478"/>
          <ac:spMkLst>
            <pc:docMk/>
            <pc:sldMk cId="3168066364" sldId="256"/>
            <ac:spMk id="64" creationId="{81A20781-8663-2F41-A497-C4D57F4DE5E5}"/>
          </ac:spMkLst>
        </pc:spChg>
        <pc:spChg chg="del">
          <ac:chgData name="Christopher Schulz" userId="c7a37fbc-fc18-47fa-bc4e-1f96df76f530" providerId="ADAL" clId="{FC6C04DC-704E-5042-B52F-FC3A30B1514F}" dt="2020-11-17T19:06:34.682" v="1" actId="478"/>
          <ac:spMkLst>
            <pc:docMk/>
            <pc:sldMk cId="3168066364" sldId="256"/>
            <ac:spMk id="65" creationId="{BFC1D988-8A91-DE49-B58D-593EE053184F}"/>
          </ac:spMkLst>
        </pc:spChg>
        <pc:spChg chg="del">
          <ac:chgData name="Christopher Schulz" userId="c7a37fbc-fc18-47fa-bc4e-1f96df76f530" providerId="ADAL" clId="{FC6C04DC-704E-5042-B52F-FC3A30B1514F}" dt="2020-11-17T19:06:34.682" v="1" actId="478"/>
          <ac:spMkLst>
            <pc:docMk/>
            <pc:sldMk cId="3168066364" sldId="256"/>
            <ac:spMk id="66" creationId="{C9F832F3-19D4-E046-9A4C-00866193A3E1}"/>
          </ac:spMkLst>
        </pc:spChg>
        <pc:spChg chg="del">
          <ac:chgData name="Christopher Schulz" userId="c7a37fbc-fc18-47fa-bc4e-1f96df76f530" providerId="ADAL" clId="{FC6C04DC-704E-5042-B52F-FC3A30B1514F}" dt="2020-11-17T19:06:34.682" v="1" actId="478"/>
          <ac:spMkLst>
            <pc:docMk/>
            <pc:sldMk cId="3168066364" sldId="256"/>
            <ac:spMk id="68" creationId="{B4587D13-8F0D-2640-A4F5-B5F2BB27D966}"/>
          </ac:spMkLst>
        </pc:spChg>
        <pc:spChg chg="del">
          <ac:chgData name="Christopher Schulz" userId="c7a37fbc-fc18-47fa-bc4e-1f96df76f530" providerId="ADAL" clId="{FC6C04DC-704E-5042-B52F-FC3A30B1514F}" dt="2020-11-17T19:06:34.682" v="1" actId="478"/>
          <ac:spMkLst>
            <pc:docMk/>
            <pc:sldMk cId="3168066364" sldId="256"/>
            <ac:spMk id="77" creationId="{689346B4-56EE-484D-98C1-4C85C5FB7AC9}"/>
          </ac:spMkLst>
        </pc:spChg>
        <pc:spChg chg="del">
          <ac:chgData name="Christopher Schulz" userId="c7a37fbc-fc18-47fa-bc4e-1f96df76f530" providerId="ADAL" clId="{FC6C04DC-704E-5042-B52F-FC3A30B1514F}" dt="2020-11-17T19:06:34.682" v="1" actId="478"/>
          <ac:spMkLst>
            <pc:docMk/>
            <pc:sldMk cId="3168066364" sldId="256"/>
            <ac:spMk id="78" creationId="{E1A175B2-75F9-7741-9683-4400A733C301}"/>
          </ac:spMkLst>
        </pc:spChg>
        <pc:picChg chg="del">
          <ac:chgData name="Christopher Schulz" userId="c7a37fbc-fc18-47fa-bc4e-1f96df76f530" providerId="ADAL" clId="{FC6C04DC-704E-5042-B52F-FC3A30B1514F}" dt="2020-11-17T19:06:34.682" v="1" actId="478"/>
          <ac:picMkLst>
            <pc:docMk/>
            <pc:sldMk cId="3168066364" sldId="256"/>
            <ac:picMk id="6" creationId="{DB42ED7E-A908-CB41-B41D-BE1B48EB1B39}"/>
          </ac:picMkLst>
        </pc:picChg>
        <pc:picChg chg="del">
          <ac:chgData name="Christopher Schulz" userId="c7a37fbc-fc18-47fa-bc4e-1f96df76f530" providerId="ADAL" clId="{FC6C04DC-704E-5042-B52F-FC3A30B1514F}" dt="2020-11-17T19:06:34.682" v="1" actId="478"/>
          <ac:picMkLst>
            <pc:docMk/>
            <pc:sldMk cId="3168066364" sldId="256"/>
            <ac:picMk id="8" creationId="{62B796B7-1932-9D4A-BA6B-823B6ED2E551}"/>
          </ac:picMkLst>
        </pc:picChg>
        <pc:picChg chg="del">
          <ac:chgData name="Christopher Schulz" userId="c7a37fbc-fc18-47fa-bc4e-1f96df76f530" providerId="ADAL" clId="{FC6C04DC-704E-5042-B52F-FC3A30B1514F}" dt="2020-11-17T19:06:34.682" v="1" actId="478"/>
          <ac:picMkLst>
            <pc:docMk/>
            <pc:sldMk cId="3168066364" sldId="256"/>
            <ac:picMk id="17" creationId="{AD2E7C2A-19EB-0344-8D3D-365177FAFA98}"/>
          </ac:picMkLst>
        </pc:picChg>
        <pc:picChg chg="del">
          <ac:chgData name="Christopher Schulz" userId="c7a37fbc-fc18-47fa-bc4e-1f96df76f530" providerId="ADAL" clId="{FC6C04DC-704E-5042-B52F-FC3A30B1514F}" dt="2020-11-17T19:06:34.682" v="1" actId="478"/>
          <ac:picMkLst>
            <pc:docMk/>
            <pc:sldMk cId="3168066364" sldId="256"/>
            <ac:picMk id="21" creationId="{81672601-4504-D344-A431-DFCF7E932F30}"/>
          </ac:picMkLst>
        </pc:picChg>
        <pc:picChg chg="del">
          <ac:chgData name="Christopher Schulz" userId="c7a37fbc-fc18-47fa-bc4e-1f96df76f530" providerId="ADAL" clId="{FC6C04DC-704E-5042-B52F-FC3A30B1514F}" dt="2020-11-17T19:06:34.682" v="1" actId="478"/>
          <ac:picMkLst>
            <pc:docMk/>
            <pc:sldMk cId="3168066364" sldId="256"/>
            <ac:picMk id="23" creationId="{263C916C-4583-FC41-BB14-3AAC0056EC22}"/>
          </ac:picMkLst>
        </pc:picChg>
        <pc:picChg chg="add mod">
          <ac:chgData name="Christopher Schulz" userId="c7a37fbc-fc18-47fa-bc4e-1f96df76f530" providerId="ADAL" clId="{FC6C04DC-704E-5042-B52F-FC3A30B1514F}" dt="2020-11-17T19:06:46.531" v="3" actId="207"/>
          <ac:picMkLst>
            <pc:docMk/>
            <pc:sldMk cId="3168066364" sldId="256"/>
            <ac:picMk id="38" creationId="{71E9FDFB-E761-7D4F-A46E-7BDD1ECCBACB}"/>
          </ac:picMkLst>
        </pc:picChg>
        <pc:picChg chg="add mod">
          <ac:chgData name="Christopher Schulz" userId="c7a37fbc-fc18-47fa-bc4e-1f96df76f530" providerId="ADAL" clId="{FC6C04DC-704E-5042-B52F-FC3A30B1514F}" dt="2020-11-17T19:06:46.531" v="3" actId="207"/>
          <ac:picMkLst>
            <pc:docMk/>
            <pc:sldMk cId="3168066364" sldId="256"/>
            <ac:picMk id="39" creationId="{5D1FB7CD-EABE-7A48-8ADD-89F3F74A08A1}"/>
          </ac:picMkLst>
        </pc:picChg>
        <pc:picChg chg="add mod">
          <ac:chgData name="Christopher Schulz" userId="c7a37fbc-fc18-47fa-bc4e-1f96df76f530" providerId="ADAL" clId="{FC6C04DC-704E-5042-B52F-FC3A30B1514F}" dt="2020-11-17T19:06:46.531" v="3" actId="207"/>
          <ac:picMkLst>
            <pc:docMk/>
            <pc:sldMk cId="3168066364" sldId="256"/>
            <ac:picMk id="40" creationId="{31F24B33-3851-DE49-B1A7-F1099CB4318D}"/>
          </ac:picMkLst>
        </pc:picChg>
        <pc:picChg chg="add mod">
          <ac:chgData name="Christopher Schulz" userId="c7a37fbc-fc18-47fa-bc4e-1f96df76f530" providerId="ADAL" clId="{FC6C04DC-704E-5042-B52F-FC3A30B1514F}" dt="2020-11-17T19:06:46.531" v="3" actId="207"/>
          <ac:picMkLst>
            <pc:docMk/>
            <pc:sldMk cId="3168066364" sldId="256"/>
            <ac:picMk id="41" creationId="{539D7972-83FE-9648-B634-CF939DF94774}"/>
          </ac:picMkLst>
        </pc:picChg>
        <pc:picChg chg="add mod">
          <ac:chgData name="Christopher Schulz" userId="c7a37fbc-fc18-47fa-bc4e-1f96df76f530" providerId="ADAL" clId="{FC6C04DC-704E-5042-B52F-FC3A30B1514F}" dt="2020-11-17T19:06:46.531" v="3" actId="207"/>
          <ac:picMkLst>
            <pc:docMk/>
            <pc:sldMk cId="3168066364" sldId="256"/>
            <ac:picMk id="42" creationId="{689AF7EF-133B-D54A-8557-0A28F2784079}"/>
          </ac:picMkLst>
        </pc:picChg>
        <pc:picChg chg="add mod">
          <ac:chgData name="Christopher Schulz" userId="c7a37fbc-fc18-47fa-bc4e-1f96df76f530" providerId="ADAL" clId="{FC6C04DC-704E-5042-B52F-FC3A30B1514F}" dt="2020-11-17T19:07:10.684" v="6" actId="207"/>
          <ac:picMkLst>
            <pc:docMk/>
            <pc:sldMk cId="3168066364" sldId="256"/>
            <ac:picMk id="43" creationId="{A64994D0-7857-C043-866B-527E5331AE56}"/>
          </ac:picMkLst>
        </pc:picChg>
        <pc:picChg chg="add mod">
          <ac:chgData name="Christopher Schulz" userId="c7a37fbc-fc18-47fa-bc4e-1f96df76f530" providerId="ADAL" clId="{FC6C04DC-704E-5042-B52F-FC3A30B1514F}" dt="2020-11-17T19:07:10.684" v="6" actId="207"/>
          <ac:picMkLst>
            <pc:docMk/>
            <pc:sldMk cId="3168066364" sldId="256"/>
            <ac:picMk id="44" creationId="{DE77AB0E-25ED-0E4C-8DED-D3FB1CE1711F}"/>
          </ac:picMkLst>
        </pc:picChg>
        <pc:picChg chg="add mod">
          <ac:chgData name="Christopher Schulz" userId="c7a37fbc-fc18-47fa-bc4e-1f96df76f530" providerId="ADAL" clId="{FC6C04DC-704E-5042-B52F-FC3A30B1514F}" dt="2020-11-17T19:07:10.684" v="6" actId="207"/>
          <ac:picMkLst>
            <pc:docMk/>
            <pc:sldMk cId="3168066364" sldId="256"/>
            <ac:picMk id="45" creationId="{B241B295-4E24-CB41-9D2E-5202478F46E3}"/>
          </ac:picMkLst>
        </pc:picChg>
        <pc:picChg chg="add mod">
          <ac:chgData name="Christopher Schulz" userId="c7a37fbc-fc18-47fa-bc4e-1f96df76f530" providerId="ADAL" clId="{FC6C04DC-704E-5042-B52F-FC3A30B1514F}" dt="2020-11-17T19:07:10.684" v="6" actId="207"/>
          <ac:picMkLst>
            <pc:docMk/>
            <pc:sldMk cId="3168066364" sldId="256"/>
            <ac:picMk id="46" creationId="{7EFA26A2-0E6F-154C-95F3-ED8FD7D2F556}"/>
          </ac:picMkLst>
        </pc:picChg>
        <pc:picChg chg="add mod">
          <ac:chgData name="Christopher Schulz" userId="c7a37fbc-fc18-47fa-bc4e-1f96df76f530" providerId="ADAL" clId="{FC6C04DC-704E-5042-B52F-FC3A30B1514F}" dt="2020-11-17T19:07:10.684" v="6" actId="207"/>
          <ac:picMkLst>
            <pc:docMk/>
            <pc:sldMk cId="3168066364" sldId="256"/>
            <ac:picMk id="47" creationId="{BBE08B28-879A-D044-92F4-A425976DE43B}"/>
          </ac:picMkLst>
        </pc:picChg>
        <pc:picChg chg="del">
          <ac:chgData name="Christopher Schulz" userId="c7a37fbc-fc18-47fa-bc4e-1f96df76f530" providerId="ADAL" clId="{FC6C04DC-704E-5042-B52F-FC3A30B1514F}" dt="2020-11-17T19:06:34.682" v="1" actId="478"/>
          <ac:picMkLst>
            <pc:docMk/>
            <pc:sldMk cId="3168066364" sldId="256"/>
            <ac:picMk id="70" creationId="{1A05F362-4D05-8F4E-992C-75B98B6A5DA5}"/>
          </ac:picMkLst>
        </pc:picChg>
        <pc:picChg chg="del">
          <ac:chgData name="Christopher Schulz" userId="c7a37fbc-fc18-47fa-bc4e-1f96df76f530" providerId="ADAL" clId="{FC6C04DC-704E-5042-B52F-FC3A30B1514F}" dt="2020-11-17T19:06:34.682" v="1" actId="478"/>
          <ac:picMkLst>
            <pc:docMk/>
            <pc:sldMk cId="3168066364" sldId="256"/>
            <ac:picMk id="71" creationId="{983402E8-A46E-8B47-A133-C823413EC54F}"/>
          </ac:picMkLst>
        </pc:picChg>
        <pc:picChg chg="del">
          <ac:chgData name="Christopher Schulz" userId="c7a37fbc-fc18-47fa-bc4e-1f96df76f530" providerId="ADAL" clId="{FC6C04DC-704E-5042-B52F-FC3A30B1514F}" dt="2020-11-17T19:06:34.682" v="1" actId="478"/>
          <ac:picMkLst>
            <pc:docMk/>
            <pc:sldMk cId="3168066364" sldId="256"/>
            <ac:picMk id="72" creationId="{02C0DB24-6FD0-B746-8A62-E01986EADAB6}"/>
          </ac:picMkLst>
        </pc:picChg>
        <pc:picChg chg="del">
          <ac:chgData name="Christopher Schulz" userId="c7a37fbc-fc18-47fa-bc4e-1f96df76f530" providerId="ADAL" clId="{FC6C04DC-704E-5042-B52F-FC3A30B1514F}" dt="2020-11-17T19:06:34.682" v="1" actId="478"/>
          <ac:picMkLst>
            <pc:docMk/>
            <pc:sldMk cId="3168066364" sldId="256"/>
            <ac:picMk id="74" creationId="{3121D770-0C42-1544-8A1F-A6227274C75B}"/>
          </ac:picMkLst>
        </pc:picChg>
        <pc:picChg chg="del">
          <ac:chgData name="Christopher Schulz" userId="c7a37fbc-fc18-47fa-bc4e-1f96df76f530" providerId="ADAL" clId="{FC6C04DC-704E-5042-B52F-FC3A30B1514F}" dt="2020-11-17T19:06:34.682" v="1" actId="478"/>
          <ac:picMkLst>
            <pc:docMk/>
            <pc:sldMk cId="3168066364" sldId="256"/>
            <ac:picMk id="76" creationId="{15E66E4D-FAB3-5742-8D12-8CEB6CD159F8}"/>
          </ac:picMkLst>
        </pc:picChg>
        <pc:picChg chg="del">
          <ac:chgData name="Christopher Schulz" userId="c7a37fbc-fc18-47fa-bc4e-1f96df76f530" providerId="ADAL" clId="{FC6C04DC-704E-5042-B52F-FC3A30B1514F}" dt="2020-11-17T19:06:34.682" v="1" actId="478"/>
          <ac:picMkLst>
            <pc:docMk/>
            <pc:sldMk cId="3168066364" sldId="256"/>
            <ac:picMk id="79" creationId="{C5E1EDAC-30BB-1243-A314-4B48F0A3E523}"/>
          </ac:picMkLst>
        </pc:picChg>
        <pc:picChg chg="del">
          <ac:chgData name="Christopher Schulz" userId="c7a37fbc-fc18-47fa-bc4e-1f96df76f530" providerId="ADAL" clId="{FC6C04DC-704E-5042-B52F-FC3A30B1514F}" dt="2020-11-17T19:06:34.682" v="1" actId="478"/>
          <ac:picMkLst>
            <pc:docMk/>
            <pc:sldMk cId="3168066364" sldId="256"/>
            <ac:picMk id="80" creationId="{B9C0E521-060B-7147-ACA8-A5C61AC1DF06}"/>
          </ac:picMkLst>
        </pc:picChg>
      </pc:sldChg>
      <pc:sldChg chg="addSp delSp modSp mod chgLayout">
        <pc:chgData name="Christopher Schulz" userId="c7a37fbc-fc18-47fa-bc4e-1f96df76f530" providerId="ADAL" clId="{FC6C04DC-704E-5042-B52F-FC3A30B1514F}" dt="2020-11-17T19:11:20.163" v="138" actId="20577"/>
        <pc:sldMkLst>
          <pc:docMk/>
          <pc:sldMk cId="1472519979" sldId="436"/>
        </pc:sldMkLst>
        <pc:spChg chg="mod ord">
          <ac:chgData name="Christopher Schulz" userId="c7a37fbc-fc18-47fa-bc4e-1f96df76f530" providerId="ADAL" clId="{FC6C04DC-704E-5042-B52F-FC3A30B1514F}" dt="2020-11-17T19:10:04.205" v="29" actId="700"/>
          <ac:spMkLst>
            <pc:docMk/>
            <pc:sldMk cId="1472519979" sldId="436"/>
            <ac:spMk id="2" creationId="{6D202977-80CB-8D49-9114-5E34A0AD02D3}"/>
          </ac:spMkLst>
        </pc:spChg>
        <pc:spChg chg="mod ord">
          <ac:chgData name="Christopher Schulz" userId="c7a37fbc-fc18-47fa-bc4e-1f96df76f530" providerId="ADAL" clId="{FC6C04DC-704E-5042-B52F-FC3A30B1514F}" dt="2020-11-17T19:10:04.205" v="29" actId="700"/>
          <ac:spMkLst>
            <pc:docMk/>
            <pc:sldMk cId="1472519979" sldId="436"/>
            <ac:spMk id="3" creationId="{AA7F89C0-AD47-2F41-ADB5-148CE4D47C23}"/>
          </ac:spMkLst>
        </pc:spChg>
        <pc:spChg chg="add del mod ord">
          <ac:chgData name="Christopher Schulz" userId="c7a37fbc-fc18-47fa-bc4e-1f96df76f530" providerId="ADAL" clId="{FC6C04DC-704E-5042-B52F-FC3A30B1514F}" dt="2020-11-17T19:10:05.811" v="30" actId="478"/>
          <ac:spMkLst>
            <pc:docMk/>
            <pc:sldMk cId="1472519979" sldId="436"/>
            <ac:spMk id="4" creationId="{99F57759-B3D5-C84D-8EE8-1274B143B234}"/>
          </ac:spMkLst>
        </pc:spChg>
        <pc:spChg chg="mod">
          <ac:chgData name="Christopher Schulz" userId="c7a37fbc-fc18-47fa-bc4e-1f96df76f530" providerId="ADAL" clId="{FC6C04DC-704E-5042-B52F-FC3A30B1514F}" dt="2020-11-17T19:11:20.163" v="138" actId="20577"/>
          <ac:spMkLst>
            <pc:docMk/>
            <pc:sldMk cId="1472519979" sldId="436"/>
            <ac:spMk id="10" creationId="{274B8FD3-DE57-F04F-8CE3-DD4FB0B74771}"/>
          </ac:spMkLst>
        </pc:spChg>
      </pc:sldChg>
      <pc:sldChg chg="addSp delSp modSp mod modClrScheme chgLayout">
        <pc:chgData name="Christopher Schulz" userId="c7a37fbc-fc18-47fa-bc4e-1f96df76f530" providerId="ADAL" clId="{FC6C04DC-704E-5042-B52F-FC3A30B1514F}" dt="2020-11-18T05:48:12.712" v="286" actId="20577"/>
        <pc:sldMkLst>
          <pc:docMk/>
          <pc:sldMk cId="3209056058" sldId="440"/>
        </pc:sldMkLst>
        <pc:spChg chg="add del mod ord">
          <ac:chgData name="Christopher Schulz" userId="c7a37fbc-fc18-47fa-bc4e-1f96df76f530" providerId="ADAL" clId="{FC6C04DC-704E-5042-B52F-FC3A30B1514F}" dt="2020-11-17T19:10:19.884" v="32" actId="700"/>
          <ac:spMkLst>
            <pc:docMk/>
            <pc:sldMk cId="3209056058" sldId="440"/>
            <ac:spMk id="2" creationId="{154A7EA5-A08E-F84A-8332-6D984AC3675C}"/>
          </ac:spMkLst>
        </pc:spChg>
        <pc:spChg chg="add del mod ord">
          <ac:chgData name="Christopher Schulz" userId="c7a37fbc-fc18-47fa-bc4e-1f96df76f530" providerId="ADAL" clId="{FC6C04DC-704E-5042-B52F-FC3A30B1514F}" dt="2020-11-17T19:10:19.884" v="32" actId="700"/>
          <ac:spMkLst>
            <pc:docMk/>
            <pc:sldMk cId="3209056058" sldId="440"/>
            <ac:spMk id="4" creationId="{B6BFB677-8884-A848-9DC5-0E6A7A5521AC}"/>
          </ac:spMkLst>
        </pc:spChg>
        <pc:spChg chg="add del mod ord">
          <ac:chgData name="Christopher Schulz" userId="c7a37fbc-fc18-47fa-bc4e-1f96df76f530" providerId="ADAL" clId="{FC6C04DC-704E-5042-B52F-FC3A30B1514F}" dt="2020-11-17T19:10:24.993" v="34" actId="700"/>
          <ac:spMkLst>
            <pc:docMk/>
            <pc:sldMk cId="3209056058" sldId="440"/>
            <ac:spMk id="5" creationId="{16863090-52BC-B146-ADC4-AD8CE5AB0897}"/>
          </ac:spMkLst>
        </pc:spChg>
        <pc:spChg chg="add del mod ord">
          <ac:chgData name="Christopher Schulz" userId="c7a37fbc-fc18-47fa-bc4e-1f96df76f530" providerId="ADAL" clId="{FC6C04DC-704E-5042-B52F-FC3A30B1514F}" dt="2020-11-17T19:10:24.993" v="34" actId="700"/>
          <ac:spMkLst>
            <pc:docMk/>
            <pc:sldMk cId="3209056058" sldId="440"/>
            <ac:spMk id="6" creationId="{2C68C9ED-FAB1-0C4F-B644-5E78ED5757A8}"/>
          </ac:spMkLst>
        </pc:spChg>
        <pc:spChg chg="add del mod ord">
          <ac:chgData name="Christopher Schulz" userId="c7a37fbc-fc18-47fa-bc4e-1f96df76f530" providerId="ADAL" clId="{FC6C04DC-704E-5042-B52F-FC3A30B1514F}" dt="2020-11-17T19:10:24.993" v="34" actId="700"/>
          <ac:spMkLst>
            <pc:docMk/>
            <pc:sldMk cId="3209056058" sldId="440"/>
            <ac:spMk id="7" creationId="{73150FA8-D7CC-494C-9C0F-9FD93D3BC0B4}"/>
          </ac:spMkLst>
        </pc:spChg>
        <pc:spChg chg="mod">
          <ac:chgData name="Christopher Schulz" userId="c7a37fbc-fc18-47fa-bc4e-1f96df76f530" providerId="ADAL" clId="{FC6C04DC-704E-5042-B52F-FC3A30B1514F}" dt="2020-11-17T19:16:57.353" v="248" actId="1076"/>
          <ac:spMkLst>
            <pc:docMk/>
            <pc:sldMk cId="3209056058" sldId="440"/>
            <ac:spMk id="12" creationId="{32EF9AB9-F3CC-6340-AFA5-FD80FF545825}"/>
          </ac:spMkLst>
        </pc:spChg>
        <pc:spChg chg="mod">
          <ac:chgData name="Christopher Schulz" userId="c7a37fbc-fc18-47fa-bc4e-1f96df76f530" providerId="ADAL" clId="{FC6C04DC-704E-5042-B52F-FC3A30B1514F}" dt="2020-11-18T05:48:12.712" v="286" actId="20577"/>
          <ac:spMkLst>
            <pc:docMk/>
            <pc:sldMk cId="3209056058" sldId="440"/>
            <ac:spMk id="16" creationId="{B6283CED-F12B-D640-B69C-31DCB8F74681}"/>
          </ac:spMkLst>
        </pc:spChg>
        <pc:picChg chg="del">
          <ac:chgData name="Christopher Schulz" userId="c7a37fbc-fc18-47fa-bc4e-1f96df76f530" providerId="ADAL" clId="{FC6C04DC-704E-5042-B52F-FC3A30B1514F}" dt="2020-11-17T19:13:03.323" v="219" actId="478"/>
          <ac:picMkLst>
            <pc:docMk/>
            <pc:sldMk cId="3209056058" sldId="440"/>
            <ac:picMk id="3" creationId="{7D8E9132-E61A-DF48-B4E5-5571528ED1DC}"/>
          </ac:picMkLst>
        </pc:picChg>
        <pc:picChg chg="add del mod">
          <ac:chgData name="Christopher Schulz" userId="c7a37fbc-fc18-47fa-bc4e-1f96df76f530" providerId="ADAL" clId="{FC6C04DC-704E-5042-B52F-FC3A30B1514F}" dt="2020-11-17T19:13:35.072" v="221" actId="478"/>
          <ac:picMkLst>
            <pc:docMk/>
            <pc:sldMk cId="3209056058" sldId="440"/>
            <ac:picMk id="9" creationId="{B618108F-E47A-1841-BEDB-1F82561CE308}"/>
          </ac:picMkLst>
        </pc:picChg>
        <pc:picChg chg="add mod">
          <ac:chgData name="Christopher Schulz" userId="c7a37fbc-fc18-47fa-bc4e-1f96df76f530" providerId="ADAL" clId="{FC6C04DC-704E-5042-B52F-FC3A30B1514F}" dt="2020-11-17T19:16:51.742" v="247" actId="18331"/>
          <ac:picMkLst>
            <pc:docMk/>
            <pc:sldMk cId="3209056058" sldId="440"/>
            <ac:picMk id="3074" creationId="{D91DCF0C-5B5F-124A-A6F0-0ACDBB7E1AA7}"/>
          </ac:picMkLst>
        </pc:picChg>
      </pc:sldChg>
      <pc:sldChg chg="addSp delSp modSp mod chgLayout">
        <pc:chgData name="Christopher Schulz" userId="c7a37fbc-fc18-47fa-bc4e-1f96df76f530" providerId="ADAL" clId="{FC6C04DC-704E-5042-B52F-FC3A30B1514F}" dt="2020-11-17T19:10:01.163" v="28" actId="478"/>
        <pc:sldMkLst>
          <pc:docMk/>
          <pc:sldMk cId="262661586" sldId="441"/>
        </pc:sldMkLst>
        <pc:spChg chg="mod ord">
          <ac:chgData name="Christopher Schulz" userId="c7a37fbc-fc18-47fa-bc4e-1f96df76f530" providerId="ADAL" clId="{FC6C04DC-704E-5042-B52F-FC3A30B1514F}" dt="2020-11-17T19:09:59.025" v="27" actId="700"/>
          <ac:spMkLst>
            <pc:docMk/>
            <pc:sldMk cId="262661586" sldId="441"/>
            <ac:spMk id="2" creationId="{D68C5A50-1913-4507-988E-B3319E45906C}"/>
          </ac:spMkLst>
        </pc:spChg>
        <pc:spChg chg="mod ord">
          <ac:chgData name="Christopher Schulz" userId="c7a37fbc-fc18-47fa-bc4e-1f96df76f530" providerId="ADAL" clId="{FC6C04DC-704E-5042-B52F-FC3A30B1514F}" dt="2020-11-17T19:09:59.025" v="27" actId="700"/>
          <ac:spMkLst>
            <pc:docMk/>
            <pc:sldMk cId="262661586" sldId="441"/>
            <ac:spMk id="3" creationId="{5F0B0340-28DE-4C04-BA5A-1EB9C2F0782D}"/>
          </ac:spMkLst>
        </pc:spChg>
        <pc:spChg chg="add del mod ord">
          <ac:chgData name="Christopher Schulz" userId="c7a37fbc-fc18-47fa-bc4e-1f96df76f530" providerId="ADAL" clId="{FC6C04DC-704E-5042-B52F-FC3A30B1514F}" dt="2020-11-17T19:10:01.163" v="28" actId="478"/>
          <ac:spMkLst>
            <pc:docMk/>
            <pc:sldMk cId="262661586" sldId="441"/>
            <ac:spMk id="4" creationId="{39B58AF7-AA49-174C-97DF-9D02C749E7E3}"/>
          </ac:spMkLst>
        </pc:spChg>
        <pc:spChg chg="add mod">
          <ac:chgData name="Christopher Schulz" userId="c7a37fbc-fc18-47fa-bc4e-1f96df76f530" providerId="ADAL" clId="{FC6C04DC-704E-5042-B52F-FC3A30B1514F}" dt="2020-11-17T19:09:03.559" v="20" actId="404"/>
          <ac:spMkLst>
            <pc:docMk/>
            <pc:sldMk cId="262661586" sldId="441"/>
            <ac:spMk id="28" creationId="{2830A5DE-6373-564D-9738-8E811EBAEFFF}"/>
          </ac:spMkLst>
        </pc:spChg>
        <pc:spChg chg="add mod">
          <ac:chgData name="Christopher Schulz" userId="c7a37fbc-fc18-47fa-bc4e-1f96df76f530" providerId="ADAL" clId="{FC6C04DC-704E-5042-B52F-FC3A30B1514F}" dt="2020-11-17T19:09:03.559" v="20" actId="404"/>
          <ac:spMkLst>
            <pc:docMk/>
            <pc:sldMk cId="262661586" sldId="441"/>
            <ac:spMk id="30" creationId="{06D1A6FF-B94C-3247-91DA-CE494CFE0C1C}"/>
          </ac:spMkLst>
        </pc:spChg>
        <pc:spChg chg="add mod">
          <ac:chgData name="Christopher Schulz" userId="c7a37fbc-fc18-47fa-bc4e-1f96df76f530" providerId="ADAL" clId="{FC6C04DC-704E-5042-B52F-FC3A30B1514F}" dt="2020-11-17T19:09:03.559" v="20" actId="404"/>
          <ac:spMkLst>
            <pc:docMk/>
            <pc:sldMk cId="262661586" sldId="441"/>
            <ac:spMk id="31" creationId="{7D9E0EA0-954D-F941-A135-8474B26BA8BF}"/>
          </ac:spMkLst>
        </pc:spChg>
        <pc:spChg chg="add mod">
          <ac:chgData name="Christopher Schulz" userId="c7a37fbc-fc18-47fa-bc4e-1f96df76f530" providerId="ADAL" clId="{FC6C04DC-704E-5042-B52F-FC3A30B1514F}" dt="2020-11-17T19:09:03.559" v="20" actId="404"/>
          <ac:spMkLst>
            <pc:docMk/>
            <pc:sldMk cId="262661586" sldId="441"/>
            <ac:spMk id="32" creationId="{F6E88B13-C456-D14E-80DB-05D3998C3AF5}"/>
          </ac:spMkLst>
        </pc:spChg>
        <pc:spChg chg="add mod">
          <ac:chgData name="Christopher Schulz" userId="c7a37fbc-fc18-47fa-bc4e-1f96df76f530" providerId="ADAL" clId="{FC6C04DC-704E-5042-B52F-FC3A30B1514F}" dt="2020-11-17T19:09:03.559" v="20" actId="404"/>
          <ac:spMkLst>
            <pc:docMk/>
            <pc:sldMk cId="262661586" sldId="441"/>
            <ac:spMk id="33" creationId="{C510990B-0388-504C-89F8-28FAEB9DBF70}"/>
          </ac:spMkLst>
        </pc:spChg>
        <pc:spChg chg="add mod">
          <ac:chgData name="Christopher Schulz" userId="c7a37fbc-fc18-47fa-bc4e-1f96df76f530" providerId="ADAL" clId="{FC6C04DC-704E-5042-B52F-FC3A30B1514F}" dt="2020-11-17T19:09:14.984" v="22" actId="207"/>
          <ac:spMkLst>
            <pc:docMk/>
            <pc:sldMk cId="262661586" sldId="441"/>
            <ac:spMk id="39" creationId="{F9DAF151-AD05-7045-BA4A-BE6709FFB86F}"/>
          </ac:spMkLst>
        </pc:spChg>
        <pc:spChg chg="add mod">
          <ac:chgData name="Christopher Schulz" userId="c7a37fbc-fc18-47fa-bc4e-1f96df76f530" providerId="ADAL" clId="{FC6C04DC-704E-5042-B52F-FC3A30B1514F}" dt="2020-11-17T19:09:14.984" v="22" actId="207"/>
          <ac:spMkLst>
            <pc:docMk/>
            <pc:sldMk cId="262661586" sldId="441"/>
            <ac:spMk id="40" creationId="{20CCE235-9AB2-5142-9C58-3B4F07BCD8DA}"/>
          </ac:spMkLst>
        </pc:spChg>
        <pc:spChg chg="add mod">
          <ac:chgData name="Christopher Schulz" userId="c7a37fbc-fc18-47fa-bc4e-1f96df76f530" providerId="ADAL" clId="{FC6C04DC-704E-5042-B52F-FC3A30B1514F}" dt="2020-11-17T19:09:14.984" v="22" actId="207"/>
          <ac:spMkLst>
            <pc:docMk/>
            <pc:sldMk cId="262661586" sldId="441"/>
            <ac:spMk id="41" creationId="{E3428BAB-B7FF-C84A-9BB1-6A5AD8381752}"/>
          </ac:spMkLst>
        </pc:spChg>
        <pc:spChg chg="add mod">
          <ac:chgData name="Christopher Schulz" userId="c7a37fbc-fc18-47fa-bc4e-1f96df76f530" providerId="ADAL" clId="{FC6C04DC-704E-5042-B52F-FC3A30B1514F}" dt="2020-11-17T19:09:14.984" v="22" actId="207"/>
          <ac:spMkLst>
            <pc:docMk/>
            <pc:sldMk cId="262661586" sldId="441"/>
            <ac:spMk id="42" creationId="{58B46C3C-A82C-B647-8DB9-D3D4FF90345E}"/>
          </ac:spMkLst>
        </pc:spChg>
        <pc:spChg chg="add mod">
          <ac:chgData name="Christopher Schulz" userId="c7a37fbc-fc18-47fa-bc4e-1f96df76f530" providerId="ADAL" clId="{FC6C04DC-704E-5042-B52F-FC3A30B1514F}" dt="2020-11-17T19:09:14.984" v="22" actId="207"/>
          <ac:spMkLst>
            <pc:docMk/>
            <pc:sldMk cId="262661586" sldId="441"/>
            <ac:spMk id="43" creationId="{5DB391E1-C90F-2E48-8FED-777CE18109F6}"/>
          </ac:spMkLst>
        </pc:spChg>
        <pc:spChg chg="add mod">
          <ac:chgData name="Christopher Schulz" userId="c7a37fbc-fc18-47fa-bc4e-1f96df76f530" providerId="ADAL" clId="{FC6C04DC-704E-5042-B52F-FC3A30B1514F}" dt="2020-11-17T19:08:57.302" v="18" actId="207"/>
          <ac:spMkLst>
            <pc:docMk/>
            <pc:sldMk cId="262661586" sldId="441"/>
            <ac:spMk id="44" creationId="{E5EA369D-F585-9940-8669-967ABDA09538}"/>
          </ac:spMkLst>
        </pc:spChg>
        <pc:spChg chg="add mod">
          <ac:chgData name="Christopher Schulz" userId="c7a37fbc-fc18-47fa-bc4e-1f96df76f530" providerId="ADAL" clId="{FC6C04DC-704E-5042-B52F-FC3A30B1514F}" dt="2020-11-17T19:08:57.302" v="18" actId="207"/>
          <ac:spMkLst>
            <pc:docMk/>
            <pc:sldMk cId="262661586" sldId="441"/>
            <ac:spMk id="45" creationId="{865A48F8-4314-174B-9C2E-A332D86CC0D9}"/>
          </ac:spMkLst>
        </pc:spChg>
        <pc:spChg chg="add mod">
          <ac:chgData name="Christopher Schulz" userId="c7a37fbc-fc18-47fa-bc4e-1f96df76f530" providerId="ADAL" clId="{FC6C04DC-704E-5042-B52F-FC3A30B1514F}" dt="2020-11-17T19:08:57.302" v="18" actId="207"/>
          <ac:spMkLst>
            <pc:docMk/>
            <pc:sldMk cId="262661586" sldId="441"/>
            <ac:spMk id="46" creationId="{EFB0A57C-54D6-2047-9C4F-E27AFB8269FB}"/>
          </ac:spMkLst>
        </pc:spChg>
        <pc:spChg chg="add mod">
          <ac:chgData name="Christopher Schulz" userId="c7a37fbc-fc18-47fa-bc4e-1f96df76f530" providerId="ADAL" clId="{FC6C04DC-704E-5042-B52F-FC3A30B1514F}" dt="2020-11-17T19:08:57.302" v="18" actId="207"/>
          <ac:spMkLst>
            <pc:docMk/>
            <pc:sldMk cId="262661586" sldId="441"/>
            <ac:spMk id="47" creationId="{76ACFD65-3A97-AE42-8EE3-689DD4B3265C}"/>
          </ac:spMkLst>
        </pc:spChg>
        <pc:spChg chg="add mod">
          <ac:chgData name="Christopher Schulz" userId="c7a37fbc-fc18-47fa-bc4e-1f96df76f530" providerId="ADAL" clId="{FC6C04DC-704E-5042-B52F-FC3A30B1514F}" dt="2020-11-17T19:08:57.302" v="18" actId="207"/>
          <ac:spMkLst>
            <pc:docMk/>
            <pc:sldMk cId="262661586" sldId="441"/>
            <ac:spMk id="48" creationId="{78034B72-A371-0C4E-9B29-F4185920EFBF}"/>
          </ac:spMkLst>
        </pc:spChg>
        <pc:spChg chg="del">
          <ac:chgData name="Christopher Schulz" userId="c7a37fbc-fc18-47fa-bc4e-1f96df76f530" providerId="ADAL" clId="{FC6C04DC-704E-5042-B52F-FC3A30B1514F}" dt="2020-11-17T19:08:53.852" v="16" actId="478"/>
          <ac:spMkLst>
            <pc:docMk/>
            <pc:sldMk cId="262661586" sldId="441"/>
            <ac:spMk id="53" creationId="{0D333FBC-7AA1-A448-A521-AD576F96D878}"/>
          </ac:spMkLst>
        </pc:spChg>
        <pc:spChg chg="del">
          <ac:chgData name="Christopher Schulz" userId="c7a37fbc-fc18-47fa-bc4e-1f96df76f530" providerId="ADAL" clId="{FC6C04DC-704E-5042-B52F-FC3A30B1514F}" dt="2020-11-17T19:08:53.852" v="16" actId="478"/>
          <ac:spMkLst>
            <pc:docMk/>
            <pc:sldMk cId="262661586" sldId="441"/>
            <ac:spMk id="54" creationId="{E53354FD-A7ED-F741-90BC-3497A87A2154}"/>
          </ac:spMkLst>
        </pc:spChg>
        <pc:spChg chg="del">
          <ac:chgData name="Christopher Schulz" userId="c7a37fbc-fc18-47fa-bc4e-1f96df76f530" providerId="ADAL" clId="{FC6C04DC-704E-5042-B52F-FC3A30B1514F}" dt="2020-11-17T19:08:53.852" v="16" actId="478"/>
          <ac:spMkLst>
            <pc:docMk/>
            <pc:sldMk cId="262661586" sldId="441"/>
            <ac:spMk id="59" creationId="{5F08C03D-6BF7-124E-BC37-F5B4330636A9}"/>
          </ac:spMkLst>
        </pc:spChg>
        <pc:spChg chg="del">
          <ac:chgData name="Christopher Schulz" userId="c7a37fbc-fc18-47fa-bc4e-1f96df76f530" providerId="ADAL" clId="{FC6C04DC-704E-5042-B52F-FC3A30B1514F}" dt="2020-11-17T19:08:53.852" v="16" actId="478"/>
          <ac:spMkLst>
            <pc:docMk/>
            <pc:sldMk cId="262661586" sldId="441"/>
            <ac:spMk id="60" creationId="{FBEF7467-2272-8C42-A10A-0A45907C2AF1}"/>
          </ac:spMkLst>
        </pc:spChg>
        <pc:spChg chg="del">
          <ac:chgData name="Christopher Schulz" userId="c7a37fbc-fc18-47fa-bc4e-1f96df76f530" providerId="ADAL" clId="{FC6C04DC-704E-5042-B52F-FC3A30B1514F}" dt="2020-11-17T19:08:53.852" v="16" actId="478"/>
          <ac:spMkLst>
            <pc:docMk/>
            <pc:sldMk cId="262661586" sldId="441"/>
            <ac:spMk id="61" creationId="{71C73527-1EEC-9C4B-9089-00F8C16AD414}"/>
          </ac:spMkLst>
        </pc:spChg>
        <pc:spChg chg="del">
          <ac:chgData name="Christopher Schulz" userId="c7a37fbc-fc18-47fa-bc4e-1f96df76f530" providerId="ADAL" clId="{FC6C04DC-704E-5042-B52F-FC3A30B1514F}" dt="2020-11-17T19:08:53.852" v="16" actId="478"/>
          <ac:spMkLst>
            <pc:docMk/>
            <pc:sldMk cId="262661586" sldId="441"/>
            <ac:spMk id="62" creationId="{957A65AE-4A05-7945-BE35-6ACB3C3617CB}"/>
          </ac:spMkLst>
        </pc:spChg>
        <pc:spChg chg="del">
          <ac:chgData name="Christopher Schulz" userId="c7a37fbc-fc18-47fa-bc4e-1f96df76f530" providerId="ADAL" clId="{FC6C04DC-704E-5042-B52F-FC3A30B1514F}" dt="2020-11-17T19:08:53.852" v="16" actId="478"/>
          <ac:spMkLst>
            <pc:docMk/>
            <pc:sldMk cId="262661586" sldId="441"/>
            <ac:spMk id="64" creationId="{81A20781-8663-2F41-A497-C4D57F4DE5E5}"/>
          </ac:spMkLst>
        </pc:spChg>
        <pc:spChg chg="del">
          <ac:chgData name="Christopher Schulz" userId="c7a37fbc-fc18-47fa-bc4e-1f96df76f530" providerId="ADAL" clId="{FC6C04DC-704E-5042-B52F-FC3A30B1514F}" dt="2020-11-17T19:08:53.852" v="16" actId="478"/>
          <ac:spMkLst>
            <pc:docMk/>
            <pc:sldMk cId="262661586" sldId="441"/>
            <ac:spMk id="65" creationId="{BFC1D988-8A91-DE49-B58D-593EE053184F}"/>
          </ac:spMkLst>
        </pc:spChg>
        <pc:spChg chg="del">
          <ac:chgData name="Christopher Schulz" userId="c7a37fbc-fc18-47fa-bc4e-1f96df76f530" providerId="ADAL" clId="{FC6C04DC-704E-5042-B52F-FC3A30B1514F}" dt="2020-11-17T19:08:53.852" v="16" actId="478"/>
          <ac:spMkLst>
            <pc:docMk/>
            <pc:sldMk cId="262661586" sldId="441"/>
            <ac:spMk id="66" creationId="{C9F832F3-19D4-E046-9A4C-00866193A3E1}"/>
          </ac:spMkLst>
        </pc:spChg>
        <pc:spChg chg="del">
          <ac:chgData name="Christopher Schulz" userId="c7a37fbc-fc18-47fa-bc4e-1f96df76f530" providerId="ADAL" clId="{FC6C04DC-704E-5042-B52F-FC3A30B1514F}" dt="2020-11-17T19:08:53.852" v="16" actId="478"/>
          <ac:spMkLst>
            <pc:docMk/>
            <pc:sldMk cId="262661586" sldId="441"/>
            <ac:spMk id="68" creationId="{B4587D13-8F0D-2640-A4F5-B5F2BB27D966}"/>
          </ac:spMkLst>
        </pc:spChg>
        <pc:spChg chg="del">
          <ac:chgData name="Christopher Schulz" userId="c7a37fbc-fc18-47fa-bc4e-1f96df76f530" providerId="ADAL" clId="{FC6C04DC-704E-5042-B52F-FC3A30B1514F}" dt="2020-11-17T19:08:53.852" v="16" actId="478"/>
          <ac:spMkLst>
            <pc:docMk/>
            <pc:sldMk cId="262661586" sldId="441"/>
            <ac:spMk id="77" creationId="{689346B4-56EE-484D-98C1-4C85C5FB7AC9}"/>
          </ac:spMkLst>
        </pc:spChg>
        <pc:spChg chg="del">
          <ac:chgData name="Christopher Schulz" userId="c7a37fbc-fc18-47fa-bc4e-1f96df76f530" providerId="ADAL" clId="{FC6C04DC-704E-5042-B52F-FC3A30B1514F}" dt="2020-11-17T19:08:53.852" v="16" actId="478"/>
          <ac:spMkLst>
            <pc:docMk/>
            <pc:sldMk cId="262661586" sldId="441"/>
            <ac:spMk id="78" creationId="{E1A175B2-75F9-7741-9683-4400A733C301}"/>
          </ac:spMkLst>
        </pc:spChg>
        <pc:picChg chg="del">
          <ac:chgData name="Christopher Schulz" userId="c7a37fbc-fc18-47fa-bc4e-1f96df76f530" providerId="ADAL" clId="{FC6C04DC-704E-5042-B52F-FC3A30B1514F}" dt="2020-11-17T19:08:53.852" v="16" actId="478"/>
          <ac:picMkLst>
            <pc:docMk/>
            <pc:sldMk cId="262661586" sldId="441"/>
            <ac:picMk id="5" creationId="{FD97028A-D64A-EE49-B5D2-364637A78E41}"/>
          </ac:picMkLst>
        </pc:picChg>
        <pc:picChg chg="del">
          <ac:chgData name="Christopher Schulz" userId="c7a37fbc-fc18-47fa-bc4e-1f96df76f530" providerId="ADAL" clId="{FC6C04DC-704E-5042-B52F-FC3A30B1514F}" dt="2020-11-17T19:08:53.852" v="16" actId="478"/>
          <ac:picMkLst>
            <pc:docMk/>
            <pc:sldMk cId="262661586" sldId="441"/>
            <ac:picMk id="9" creationId="{FEB1646B-B68B-B94B-8822-8CADBDCFCBCF}"/>
          </ac:picMkLst>
        </pc:picChg>
        <pc:picChg chg="del">
          <ac:chgData name="Christopher Schulz" userId="c7a37fbc-fc18-47fa-bc4e-1f96df76f530" providerId="ADAL" clId="{FC6C04DC-704E-5042-B52F-FC3A30B1514F}" dt="2020-11-17T19:08:53.852" v="16" actId="478"/>
          <ac:picMkLst>
            <pc:docMk/>
            <pc:sldMk cId="262661586" sldId="441"/>
            <ac:picMk id="16" creationId="{87AD33BD-F0F8-7F4A-8896-FC10AEB1F78C}"/>
          </ac:picMkLst>
        </pc:picChg>
        <pc:picChg chg="del">
          <ac:chgData name="Christopher Schulz" userId="c7a37fbc-fc18-47fa-bc4e-1f96df76f530" providerId="ADAL" clId="{FC6C04DC-704E-5042-B52F-FC3A30B1514F}" dt="2020-11-17T19:08:53.852" v="16" actId="478"/>
          <ac:picMkLst>
            <pc:docMk/>
            <pc:sldMk cId="262661586" sldId="441"/>
            <ac:picMk id="22" creationId="{5625DB93-109D-0D41-B156-EC7BAC3FF2D4}"/>
          </ac:picMkLst>
        </pc:picChg>
        <pc:picChg chg="del">
          <ac:chgData name="Christopher Schulz" userId="c7a37fbc-fc18-47fa-bc4e-1f96df76f530" providerId="ADAL" clId="{FC6C04DC-704E-5042-B52F-FC3A30B1514F}" dt="2020-11-17T19:08:53.852" v="16" actId="478"/>
          <ac:picMkLst>
            <pc:docMk/>
            <pc:sldMk cId="262661586" sldId="441"/>
            <ac:picMk id="27" creationId="{7C5C1CCB-2292-5645-A45A-FF66AC65074F}"/>
          </ac:picMkLst>
        </pc:picChg>
        <pc:picChg chg="del">
          <ac:chgData name="Christopher Schulz" userId="c7a37fbc-fc18-47fa-bc4e-1f96df76f530" providerId="ADAL" clId="{FC6C04DC-704E-5042-B52F-FC3A30B1514F}" dt="2020-11-17T19:08:53.852" v="16" actId="478"/>
          <ac:picMkLst>
            <pc:docMk/>
            <pc:sldMk cId="262661586" sldId="441"/>
            <ac:picMk id="29" creationId="{939923BC-3CB7-8B42-93ED-88681774AF1B}"/>
          </ac:picMkLst>
        </pc:picChg>
        <pc:picChg chg="add mod">
          <ac:chgData name="Christopher Schulz" userId="c7a37fbc-fc18-47fa-bc4e-1f96df76f530" providerId="ADAL" clId="{FC6C04DC-704E-5042-B52F-FC3A30B1514F}" dt="2020-11-17T19:09:08.809" v="21" actId="207"/>
          <ac:picMkLst>
            <pc:docMk/>
            <pc:sldMk cId="262661586" sldId="441"/>
            <ac:picMk id="34" creationId="{FD656514-8131-C641-8C1B-4FB353CD714C}"/>
          </ac:picMkLst>
        </pc:picChg>
        <pc:picChg chg="add mod">
          <ac:chgData name="Christopher Schulz" userId="c7a37fbc-fc18-47fa-bc4e-1f96df76f530" providerId="ADAL" clId="{FC6C04DC-704E-5042-B52F-FC3A30B1514F}" dt="2020-11-17T19:09:08.809" v="21" actId="207"/>
          <ac:picMkLst>
            <pc:docMk/>
            <pc:sldMk cId="262661586" sldId="441"/>
            <ac:picMk id="35" creationId="{F77C765B-8769-9342-96EC-31CBADF7BD82}"/>
          </ac:picMkLst>
        </pc:picChg>
        <pc:picChg chg="add mod">
          <ac:chgData name="Christopher Schulz" userId="c7a37fbc-fc18-47fa-bc4e-1f96df76f530" providerId="ADAL" clId="{FC6C04DC-704E-5042-B52F-FC3A30B1514F}" dt="2020-11-17T19:09:08.809" v="21" actId="207"/>
          <ac:picMkLst>
            <pc:docMk/>
            <pc:sldMk cId="262661586" sldId="441"/>
            <ac:picMk id="36" creationId="{DB002484-F19F-C14D-8B2B-DB02078E46B6}"/>
          </ac:picMkLst>
        </pc:picChg>
        <pc:picChg chg="add mod">
          <ac:chgData name="Christopher Schulz" userId="c7a37fbc-fc18-47fa-bc4e-1f96df76f530" providerId="ADAL" clId="{FC6C04DC-704E-5042-B52F-FC3A30B1514F}" dt="2020-11-17T19:09:08.809" v="21" actId="207"/>
          <ac:picMkLst>
            <pc:docMk/>
            <pc:sldMk cId="262661586" sldId="441"/>
            <ac:picMk id="37" creationId="{D4BD0E1E-5ACD-1041-8C7B-22CA50670197}"/>
          </ac:picMkLst>
        </pc:picChg>
        <pc:picChg chg="add mod">
          <ac:chgData name="Christopher Schulz" userId="c7a37fbc-fc18-47fa-bc4e-1f96df76f530" providerId="ADAL" clId="{FC6C04DC-704E-5042-B52F-FC3A30B1514F}" dt="2020-11-17T19:09:08.809" v="21" actId="207"/>
          <ac:picMkLst>
            <pc:docMk/>
            <pc:sldMk cId="262661586" sldId="441"/>
            <ac:picMk id="38" creationId="{952D0F09-716E-7647-BA59-5542DCC7148E}"/>
          </ac:picMkLst>
        </pc:picChg>
        <pc:picChg chg="add mod">
          <ac:chgData name="Christopher Schulz" userId="c7a37fbc-fc18-47fa-bc4e-1f96df76f530" providerId="ADAL" clId="{FC6C04DC-704E-5042-B52F-FC3A30B1514F}" dt="2020-11-17T19:08:57.302" v="18" actId="207"/>
          <ac:picMkLst>
            <pc:docMk/>
            <pc:sldMk cId="262661586" sldId="441"/>
            <ac:picMk id="49" creationId="{CBF782A3-3FC8-2F4F-BCFB-5B3AA7A13F21}"/>
          </ac:picMkLst>
        </pc:picChg>
        <pc:picChg chg="add mod">
          <ac:chgData name="Christopher Schulz" userId="c7a37fbc-fc18-47fa-bc4e-1f96df76f530" providerId="ADAL" clId="{FC6C04DC-704E-5042-B52F-FC3A30B1514F}" dt="2020-11-17T19:08:57.302" v="18" actId="207"/>
          <ac:picMkLst>
            <pc:docMk/>
            <pc:sldMk cId="262661586" sldId="441"/>
            <ac:picMk id="50" creationId="{6E83C3BF-BEC9-ED48-8AB3-39DCA8D8511F}"/>
          </ac:picMkLst>
        </pc:picChg>
        <pc:picChg chg="add mod">
          <ac:chgData name="Christopher Schulz" userId="c7a37fbc-fc18-47fa-bc4e-1f96df76f530" providerId="ADAL" clId="{FC6C04DC-704E-5042-B52F-FC3A30B1514F}" dt="2020-11-17T19:08:57.302" v="18" actId="207"/>
          <ac:picMkLst>
            <pc:docMk/>
            <pc:sldMk cId="262661586" sldId="441"/>
            <ac:picMk id="51" creationId="{68550553-0D63-CA42-8713-21931BA24B9D}"/>
          </ac:picMkLst>
        </pc:picChg>
        <pc:picChg chg="add mod">
          <ac:chgData name="Christopher Schulz" userId="c7a37fbc-fc18-47fa-bc4e-1f96df76f530" providerId="ADAL" clId="{FC6C04DC-704E-5042-B52F-FC3A30B1514F}" dt="2020-11-17T19:08:57.302" v="18" actId="207"/>
          <ac:picMkLst>
            <pc:docMk/>
            <pc:sldMk cId="262661586" sldId="441"/>
            <ac:picMk id="52" creationId="{5B0E48EB-374A-6140-A34E-6F355CCFB865}"/>
          </ac:picMkLst>
        </pc:picChg>
        <pc:picChg chg="add mod">
          <ac:chgData name="Christopher Schulz" userId="c7a37fbc-fc18-47fa-bc4e-1f96df76f530" providerId="ADAL" clId="{FC6C04DC-704E-5042-B52F-FC3A30B1514F}" dt="2020-11-17T19:08:57.302" v="18" actId="207"/>
          <ac:picMkLst>
            <pc:docMk/>
            <pc:sldMk cId="262661586" sldId="441"/>
            <ac:picMk id="55" creationId="{EC6BBBA7-2899-CD49-8695-B4BCDB0430DA}"/>
          </ac:picMkLst>
        </pc:picChg>
        <pc:picChg chg="del">
          <ac:chgData name="Christopher Schulz" userId="c7a37fbc-fc18-47fa-bc4e-1f96df76f530" providerId="ADAL" clId="{FC6C04DC-704E-5042-B52F-FC3A30B1514F}" dt="2020-11-17T19:08:53.852" v="16" actId="478"/>
          <ac:picMkLst>
            <pc:docMk/>
            <pc:sldMk cId="262661586" sldId="441"/>
            <ac:picMk id="70" creationId="{1A05F362-4D05-8F4E-992C-75B98B6A5DA5}"/>
          </ac:picMkLst>
        </pc:picChg>
        <pc:picChg chg="del">
          <ac:chgData name="Christopher Schulz" userId="c7a37fbc-fc18-47fa-bc4e-1f96df76f530" providerId="ADAL" clId="{FC6C04DC-704E-5042-B52F-FC3A30B1514F}" dt="2020-11-17T19:08:53.852" v="16" actId="478"/>
          <ac:picMkLst>
            <pc:docMk/>
            <pc:sldMk cId="262661586" sldId="441"/>
            <ac:picMk id="71" creationId="{983402E8-A46E-8B47-A133-C823413EC54F}"/>
          </ac:picMkLst>
        </pc:picChg>
        <pc:picChg chg="del">
          <ac:chgData name="Christopher Schulz" userId="c7a37fbc-fc18-47fa-bc4e-1f96df76f530" providerId="ADAL" clId="{FC6C04DC-704E-5042-B52F-FC3A30B1514F}" dt="2020-11-17T19:08:53.852" v="16" actId="478"/>
          <ac:picMkLst>
            <pc:docMk/>
            <pc:sldMk cId="262661586" sldId="441"/>
            <ac:picMk id="72" creationId="{02C0DB24-6FD0-B746-8A62-E01986EADAB6}"/>
          </ac:picMkLst>
        </pc:picChg>
        <pc:picChg chg="del">
          <ac:chgData name="Christopher Schulz" userId="c7a37fbc-fc18-47fa-bc4e-1f96df76f530" providerId="ADAL" clId="{FC6C04DC-704E-5042-B52F-FC3A30B1514F}" dt="2020-11-17T19:08:53.852" v="16" actId="478"/>
          <ac:picMkLst>
            <pc:docMk/>
            <pc:sldMk cId="262661586" sldId="441"/>
            <ac:picMk id="74" creationId="{3121D770-0C42-1544-8A1F-A6227274C75B}"/>
          </ac:picMkLst>
        </pc:picChg>
        <pc:picChg chg="del">
          <ac:chgData name="Christopher Schulz" userId="c7a37fbc-fc18-47fa-bc4e-1f96df76f530" providerId="ADAL" clId="{FC6C04DC-704E-5042-B52F-FC3A30B1514F}" dt="2020-11-17T19:08:53.852" v="16" actId="478"/>
          <ac:picMkLst>
            <pc:docMk/>
            <pc:sldMk cId="262661586" sldId="441"/>
            <ac:picMk id="76" creationId="{15E66E4D-FAB3-5742-8D12-8CEB6CD159F8}"/>
          </ac:picMkLst>
        </pc:picChg>
        <pc:picChg chg="del">
          <ac:chgData name="Christopher Schulz" userId="c7a37fbc-fc18-47fa-bc4e-1f96df76f530" providerId="ADAL" clId="{FC6C04DC-704E-5042-B52F-FC3A30B1514F}" dt="2020-11-17T19:08:53.852" v="16" actId="478"/>
          <ac:picMkLst>
            <pc:docMk/>
            <pc:sldMk cId="262661586" sldId="441"/>
            <ac:picMk id="79" creationId="{C5E1EDAC-30BB-1243-A314-4B48F0A3E523}"/>
          </ac:picMkLst>
        </pc:picChg>
      </pc:sldChg>
      <pc:sldChg chg="add del">
        <pc:chgData name="Christopher Schulz" userId="c7a37fbc-fc18-47fa-bc4e-1f96df76f530" providerId="ADAL" clId="{FC6C04DC-704E-5042-B52F-FC3A30B1514F}" dt="2020-11-17T19:09:31.693" v="24" actId="2696"/>
        <pc:sldMkLst>
          <pc:docMk/>
          <pc:sldMk cId="3967510014" sldId="1588"/>
        </pc:sldMkLst>
      </pc:sldChg>
      <pc:sldChg chg="add del">
        <pc:chgData name="Christopher Schulz" userId="c7a37fbc-fc18-47fa-bc4e-1f96df76f530" providerId="ADAL" clId="{FC6C04DC-704E-5042-B52F-FC3A30B1514F}" dt="2020-11-17T19:09:31.693" v="24" actId="2696"/>
        <pc:sldMkLst>
          <pc:docMk/>
          <pc:sldMk cId="3294018847" sldId="1589"/>
        </pc:sldMkLst>
      </pc:sldChg>
    </pc:docChg>
  </pc:docChgLst>
  <pc:docChgLst>
    <pc:chgData name="Christopher Schulz" userId="c7a37fbc-fc18-47fa-bc4e-1f96df76f530" providerId="ADAL" clId="{EAE2171F-DF41-604A-B96D-11A863CBD639}"/>
    <pc:docChg chg="undo custSel addSld delSld modSld">
      <pc:chgData name="Christopher Schulz" userId="c7a37fbc-fc18-47fa-bc4e-1f96df76f530" providerId="ADAL" clId="{EAE2171F-DF41-604A-B96D-11A863CBD639}" dt="2020-01-07T09:04:13.883" v="2098" actId="1076"/>
      <pc:docMkLst>
        <pc:docMk/>
      </pc:docMkLst>
      <pc:sldChg chg="addSp delSp modSp">
        <pc:chgData name="Christopher Schulz" userId="c7a37fbc-fc18-47fa-bc4e-1f96df76f530" providerId="ADAL" clId="{EAE2171F-DF41-604A-B96D-11A863CBD639}" dt="2020-01-07T08:04:10.818" v="2074" actId="20577"/>
        <pc:sldMkLst>
          <pc:docMk/>
          <pc:sldMk cId="3168066364" sldId="256"/>
        </pc:sldMkLst>
        <pc:spChg chg="mod">
          <ac:chgData name="Christopher Schulz" userId="c7a37fbc-fc18-47fa-bc4e-1f96df76f530" providerId="ADAL" clId="{EAE2171F-DF41-604A-B96D-11A863CBD639}" dt="2020-01-05T15:31:53.148" v="1954" actId="790"/>
          <ac:spMkLst>
            <pc:docMk/>
            <pc:sldMk cId="3168066364" sldId="256"/>
            <ac:spMk id="2" creationId="{D68C5A50-1913-4507-988E-B3319E45906C}"/>
          </ac:spMkLst>
        </pc:spChg>
        <pc:spChg chg="mod">
          <ac:chgData name="Christopher Schulz" userId="c7a37fbc-fc18-47fa-bc4e-1f96df76f530" providerId="ADAL" clId="{EAE2171F-DF41-604A-B96D-11A863CBD639}" dt="2020-01-05T14:36:44.917" v="838" actId="20577"/>
          <ac:spMkLst>
            <pc:docMk/>
            <pc:sldMk cId="3168066364" sldId="256"/>
            <ac:spMk id="3" creationId="{5F0B0340-28DE-4C04-BA5A-1EB9C2F0782D}"/>
          </ac:spMkLst>
        </pc:spChg>
        <pc:graphicFrameChg chg="add del">
          <ac:chgData name="Christopher Schulz" userId="c7a37fbc-fc18-47fa-bc4e-1f96df76f530" providerId="ADAL" clId="{EAE2171F-DF41-604A-B96D-11A863CBD639}" dt="2020-01-05T14:33:11.984" v="602"/>
          <ac:graphicFrameMkLst>
            <pc:docMk/>
            <pc:sldMk cId="3168066364" sldId="256"/>
            <ac:graphicFrameMk id="4" creationId="{725C9E8C-1946-4547-9968-C17B8D89679F}"/>
          </ac:graphicFrameMkLst>
        </pc:graphicFrameChg>
        <pc:graphicFrameChg chg="mod modGraphic">
          <ac:chgData name="Christopher Schulz" userId="c7a37fbc-fc18-47fa-bc4e-1f96df76f530" providerId="ADAL" clId="{EAE2171F-DF41-604A-B96D-11A863CBD639}" dt="2020-01-07T08:04:10.818" v="2074" actId="20577"/>
          <ac:graphicFrameMkLst>
            <pc:docMk/>
            <pc:sldMk cId="3168066364" sldId="256"/>
            <ac:graphicFrameMk id="6" creationId="{78112048-7899-1C44-B8EC-A001E6C13E15}"/>
          </ac:graphicFrameMkLst>
        </pc:graphicFrameChg>
        <pc:graphicFrameChg chg="add del mod modGraphic">
          <ac:chgData name="Christopher Schulz" userId="c7a37fbc-fc18-47fa-bc4e-1f96df76f530" providerId="ADAL" clId="{EAE2171F-DF41-604A-B96D-11A863CBD639}" dt="2020-01-05T15:31:25.334" v="1946" actId="20577"/>
          <ac:graphicFrameMkLst>
            <pc:docMk/>
            <pc:sldMk cId="3168066364" sldId="256"/>
            <ac:graphicFrameMk id="7" creationId="{CAD18F1B-98FB-EB44-B6EA-BE897FC3E456}"/>
          </ac:graphicFrameMkLst>
        </pc:graphicFrameChg>
        <pc:picChg chg="add mod">
          <ac:chgData name="Christopher Schulz" userId="c7a37fbc-fc18-47fa-bc4e-1f96df76f530" providerId="ADAL" clId="{EAE2171F-DF41-604A-B96D-11A863CBD639}" dt="2020-01-05T15:31:28.417" v="1947" actId="1076"/>
          <ac:picMkLst>
            <pc:docMk/>
            <pc:sldMk cId="3168066364" sldId="256"/>
            <ac:picMk id="8" creationId="{859A143B-A9FE-5B4C-8403-450E9D19B681}"/>
          </ac:picMkLst>
        </pc:picChg>
        <pc:picChg chg="add mod">
          <ac:chgData name="Christopher Schulz" userId="c7a37fbc-fc18-47fa-bc4e-1f96df76f530" providerId="ADAL" clId="{EAE2171F-DF41-604A-B96D-11A863CBD639}" dt="2020-01-05T15:31:19.912" v="1941" actId="1038"/>
          <ac:picMkLst>
            <pc:docMk/>
            <pc:sldMk cId="3168066364" sldId="256"/>
            <ac:picMk id="10" creationId="{D50F8B04-D52E-D14A-9520-3709A897368F}"/>
          </ac:picMkLst>
        </pc:picChg>
      </pc:sldChg>
      <pc:sldChg chg="del">
        <pc:chgData name="Christopher Schulz" userId="c7a37fbc-fc18-47fa-bc4e-1f96df76f530" providerId="ADAL" clId="{EAE2171F-DF41-604A-B96D-11A863CBD639}" dt="2020-01-05T14:54:10.578" v="1477" actId="2696"/>
        <pc:sldMkLst>
          <pc:docMk/>
          <pc:sldMk cId="1432570934" sldId="428"/>
        </pc:sldMkLst>
      </pc:sldChg>
      <pc:sldChg chg="del">
        <pc:chgData name="Christopher Schulz" userId="c7a37fbc-fc18-47fa-bc4e-1f96df76f530" providerId="ADAL" clId="{EAE2171F-DF41-604A-B96D-11A863CBD639}" dt="2020-01-05T14:54:11.087" v="1479" actId="2696"/>
        <pc:sldMkLst>
          <pc:docMk/>
          <pc:sldMk cId="269611952" sldId="430"/>
        </pc:sldMkLst>
      </pc:sldChg>
      <pc:sldChg chg="del">
        <pc:chgData name="Christopher Schulz" userId="c7a37fbc-fc18-47fa-bc4e-1f96df76f530" providerId="ADAL" clId="{EAE2171F-DF41-604A-B96D-11A863CBD639}" dt="2020-01-05T14:54:11.271" v="1480" actId="2696"/>
        <pc:sldMkLst>
          <pc:docMk/>
          <pc:sldMk cId="2682155137" sldId="433"/>
        </pc:sldMkLst>
      </pc:sldChg>
      <pc:sldChg chg="addSp delSp modSp">
        <pc:chgData name="Christopher Schulz" userId="c7a37fbc-fc18-47fa-bc4e-1f96df76f530" providerId="ADAL" clId="{EAE2171F-DF41-604A-B96D-11A863CBD639}" dt="2020-01-05T15:33:15.933" v="2068" actId="20577"/>
        <pc:sldMkLst>
          <pc:docMk/>
          <pc:sldMk cId="1472519979" sldId="436"/>
        </pc:sldMkLst>
        <pc:spChg chg="mod">
          <ac:chgData name="Christopher Schulz" userId="c7a37fbc-fc18-47fa-bc4e-1f96df76f530" providerId="ADAL" clId="{EAE2171F-DF41-604A-B96D-11A863CBD639}" dt="2020-01-05T15:33:15.933" v="2068" actId="20577"/>
          <ac:spMkLst>
            <pc:docMk/>
            <pc:sldMk cId="1472519979" sldId="436"/>
            <ac:spMk id="2" creationId="{6D202977-80CB-8D49-9114-5E34A0AD02D3}"/>
          </ac:spMkLst>
        </pc:spChg>
        <pc:spChg chg="mod">
          <ac:chgData name="Christopher Schulz" userId="c7a37fbc-fc18-47fa-bc4e-1f96df76f530" providerId="ADAL" clId="{EAE2171F-DF41-604A-B96D-11A863CBD639}" dt="2020-01-05T15:32:55.981" v="2025" actId="20577"/>
          <ac:spMkLst>
            <pc:docMk/>
            <pc:sldMk cId="1472519979" sldId="436"/>
            <ac:spMk id="3" creationId="{AA7F89C0-AD47-2F41-ADB5-148CE4D47C23}"/>
          </ac:spMkLst>
        </pc:spChg>
        <pc:spChg chg="mod">
          <ac:chgData name="Christopher Schulz" userId="c7a37fbc-fc18-47fa-bc4e-1f96df76f530" providerId="ADAL" clId="{EAE2171F-DF41-604A-B96D-11A863CBD639}" dt="2020-01-05T15:01:04.085" v="1761" actId="20577"/>
          <ac:spMkLst>
            <pc:docMk/>
            <pc:sldMk cId="1472519979" sldId="436"/>
            <ac:spMk id="9" creationId="{CF9ADDBA-443B-204E-B32A-778FA29DB81E}"/>
          </ac:spMkLst>
        </pc:spChg>
        <pc:spChg chg="mod">
          <ac:chgData name="Christopher Schulz" userId="c7a37fbc-fc18-47fa-bc4e-1f96df76f530" providerId="ADAL" clId="{EAE2171F-DF41-604A-B96D-11A863CBD639}" dt="2020-01-05T14:58:45.917" v="1691" actId="20577"/>
          <ac:spMkLst>
            <pc:docMk/>
            <pc:sldMk cId="1472519979" sldId="436"/>
            <ac:spMk id="10" creationId="{274B8FD3-DE57-F04F-8CE3-DD4FB0B74771}"/>
          </ac:spMkLst>
        </pc:spChg>
        <pc:picChg chg="add mod">
          <ac:chgData name="Christopher Schulz" userId="c7a37fbc-fc18-47fa-bc4e-1f96df76f530" providerId="ADAL" clId="{EAE2171F-DF41-604A-B96D-11A863CBD639}" dt="2020-01-05T15:00:05.483" v="1750" actId="1076"/>
          <ac:picMkLst>
            <pc:docMk/>
            <pc:sldMk cId="1472519979" sldId="436"/>
            <ac:picMk id="7" creationId="{301A4DA2-27BA-694C-B28B-1E2FD338D7BA}"/>
          </ac:picMkLst>
        </pc:picChg>
        <pc:picChg chg="del">
          <ac:chgData name="Christopher Schulz" userId="c7a37fbc-fc18-47fa-bc4e-1f96df76f530" providerId="ADAL" clId="{EAE2171F-DF41-604A-B96D-11A863CBD639}" dt="2020-01-05T14:59:54.695" v="1745" actId="478"/>
          <ac:picMkLst>
            <pc:docMk/>
            <pc:sldMk cId="1472519979" sldId="436"/>
            <ac:picMk id="8" creationId="{85906011-DFCF-6E41-8E6C-974E178A2AE4}"/>
          </ac:picMkLst>
        </pc:picChg>
      </pc:sldChg>
      <pc:sldChg chg="addSp delSp modSp del modNotesTx">
        <pc:chgData name="Christopher Schulz" userId="c7a37fbc-fc18-47fa-bc4e-1f96df76f530" providerId="ADAL" clId="{EAE2171F-DF41-604A-B96D-11A863CBD639}" dt="2020-01-05T15:28:19.237" v="1926" actId="2696"/>
        <pc:sldMkLst>
          <pc:docMk/>
          <pc:sldMk cId="1131587553" sldId="437"/>
        </pc:sldMkLst>
        <pc:spChg chg="add del">
          <ac:chgData name="Christopher Schulz" userId="c7a37fbc-fc18-47fa-bc4e-1f96df76f530" providerId="ADAL" clId="{EAE2171F-DF41-604A-B96D-11A863CBD639}" dt="2020-01-05T15:27:49.259" v="1921" actId="478"/>
          <ac:spMkLst>
            <pc:docMk/>
            <pc:sldMk cId="1131587553" sldId="437"/>
            <ac:spMk id="2" creationId="{EB45F231-E487-4271-9057-B362EF649847}"/>
          </ac:spMkLst>
        </pc:spChg>
        <pc:spChg chg="add del">
          <ac:chgData name="Christopher Schulz" userId="c7a37fbc-fc18-47fa-bc4e-1f96df76f530" providerId="ADAL" clId="{EAE2171F-DF41-604A-B96D-11A863CBD639}" dt="2020-01-05T15:26:17.167" v="1901"/>
          <ac:spMkLst>
            <pc:docMk/>
            <pc:sldMk cId="1131587553" sldId="437"/>
            <ac:spMk id="6" creationId="{E6BCA6DC-87A3-45A3-8418-850F5E83F93D}"/>
          </ac:spMkLst>
        </pc:spChg>
        <pc:spChg chg="mod">
          <ac:chgData name="Christopher Schulz" userId="c7a37fbc-fc18-47fa-bc4e-1f96df76f530" providerId="ADAL" clId="{EAE2171F-DF41-604A-B96D-11A863CBD639}" dt="2020-01-05T15:02:29.882" v="1774" actId="20577"/>
          <ac:spMkLst>
            <pc:docMk/>
            <pc:sldMk cId="1131587553" sldId="437"/>
            <ac:spMk id="8" creationId="{D596532F-93B4-474D-9305-298699D9090B}"/>
          </ac:spMkLst>
        </pc:spChg>
        <pc:picChg chg="add del">
          <ac:chgData name="Christopher Schulz" userId="c7a37fbc-fc18-47fa-bc4e-1f96df76f530" providerId="ADAL" clId="{EAE2171F-DF41-604A-B96D-11A863CBD639}" dt="2020-01-05T15:27:52.143" v="1922" actId="478"/>
          <ac:picMkLst>
            <pc:docMk/>
            <pc:sldMk cId="1131587553" sldId="437"/>
            <ac:picMk id="3" creationId="{C1084879-260D-453B-8097-6930EC92BC9B}"/>
          </ac:picMkLst>
        </pc:picChg>
        <pc:picChg chg="add del mod">
          <ac:chgData name="Christopher Schulz" userId="c7a37fbc-fc18-47fa-bc4e-1f96df76f530" providerId="ADAL" clId="{EAE2171F-DF41-604A-B96D-11A863CBD639}" dt="2020-01-05T15:21:58.042" v="1868"/>
          <ac:picMkLst>
            <pc:docMk/>
            <pc:sldMk cId="1131587553" sldId="437"/>
            <ac:picMk id="4" creationId="{6B288969-7676-9D43-8A47-94A4E01AA80A}"/>
          </ac:picMkLst>
        </pc:picChg>
        <pc:picChg chg="add del mod">
          <ac:chgData name="Christopher Schulz" userId="c7a37fbc-fc18-47fa-bc4e-1f96df76f530" providerId="ADAL" clId="{EAE2171F-DF41-604A-B96D-11A863CBD639}" dt="2020-01-05T15:22:41.201" v="1876"/>
          <ac:picMkLst>
            <pc:docMk/>
            <pc:sldMk cId="1131587553" sldId="437"/>
            <ac:picMk id="9" creationId="{E76F9A5A-E088-774E-81C6-A4FE1CC80DC1}"/>
          </ac:picMkLst>
        </pc:picChg>
      </pc:sldChg>
      <pc:sldChg chg="del">
        <pc:chgData name="Christopher Schulz" userId="c7a37fbc-fc18-47fa-bc4e-1f96df76f530" providerId="ADAL" clId="{EAE2171F-DF41-604A-B96D-11A863CBD639}" dt="2020-01-05T14:54:10.779" v="1478" actId="2696"/>
        <pc:sldMkLst>
          <pc:docMk/>
          <pc:sldMk cId="2361912370" sldId="438"/>
        </pc:sldMkLst>
      </pc:sldChg>
      <pc:sldChg chg="addSp delSp modSp add">
        <pc:chgData name="Christopher Schulz" userId="c7a37fbc-fc18-47fa-bc4e-1f96df76f530" providerId="ADAL" clId="{EAE2171F-DF41-604A-B96D-11A863CBD639}" dt="2020-01-07T09:04:13.883" v="2098" actId="1076"/>
        <pc:sldMkLst>
          <pc:docMk/>
          <pc:sldMk cId="3192340078" sldId="439"/>
        </pc:sldMkLst>
        <pc:spChg chg="mod">
          <ac:chgData name="Christopher Schulz" userId="c7a37fbc-fc18-47fa-bc4e-1f96df76f530" providerId="ADAL" clId="{EAE2171F-DF41-604A-B96D-11A863CBD639}" dt="2020-01-05T15:31:58.278" v="1955" actId="790"/>
          <ac:spMkLst>
            <pc:docMk/>
            <pc:sldMk cId="3192340078" sldId="439"/>
            <ac:spMk id="2" creationId="{D68C5A50-1913-4507-988E-B3319E45906C}"/>
          </ac:spMkLst>
        </pc:spChg>
        <pc:spChg chg="add mod">
          <ac:chgData name="Christopher Schulz" userId="c7a37fbc-fc18-47fa-bc4e-1f96df76f530" providerId="ADAL" clId="{EAE2171F-DF41-604A-B96D-11A863CBD639}" dt="2020-01-05T15:22:47.045" v="1879" actId="20577"/>
          <ac:spMkLst>
            <pc:docMk/>
            <pc:sldMk cId="3192340078" sldId="439"/>
            <ac:spMk id="9" creationId="{C7C2FB34-6C59-D543-93B5-A276AC1371F8}"/>
          </ac:spMkLst>
        </pc:spChg>
        <pc:graphicFrameChg chg="del">
          <ac:chgData name="Christopher Schulz" userId="c7a37fbc-fc18-47fa-bc4e-1f96df76f530" providerId="ADAL" clId="{EAE2171F-DF41-604A-B96D-11A863CBD639}" dt="2020-01-05T14:46:22.494" v="1229" actId="478"/>
          <ac:graphicFrameMkLst>
            <pc:docMk/>
            <pc:sldMk cId="3192340078" sldId="439"/>
            <ac:graphicFrameMk id="6" creationId="{78112048-7899-1C44-B8EC-A001E6C13E15}"/>
          </ac:graphicFrameMkLst>
        </pc:graphicFrameChg>
        <pc:graphicFrameChg chg="del mod">
          <ac:chgData name="Christopher Schulz" userId="c7a37fbc-fc18-47fa-bc4e-1f96df76f530" providerId="ADAL" clId="{EAE2171F-DF41-604A-B96D-11A863CBD639}" dt="2020-01-05T14:46:56.135" v="1233" actId="478"/>
          <ac:graphicFrameMkLst>
            <pc:docMk/>
            <pc:sldMk cId="3192340078" sldId="439"/>
            <ac:graphicFrameMk id="7" creationId="{CAD18F1B-98FB-EB44-B6EA-BE897FC3E456}"/>
          </ac:graphicFrameMkLst>
        </pc:graphicFrameChg>
        <pc:graphicFrameChg chg="add mod modGraphic">
          <ac:chgData name="Christopher Schulz" userId="c7a37fbc-fc18-47fa-bc4e-1f96df76f530" providerId="ADAL" clId="{EAE2171F-DF41-604A-B96D-11A863CBD639}" dt="2020-01-05T15:31:37.536" v="1952" actId="20577"/>
          <ac:graphicFrameMkLst>
            <pc:docMk/>
            <pc:sldMk cId="3192340078" sldId="439"/>
            <ac:graphicFrameMk id="8" creationId="{95B8BFB7-7E88-F945-9617-BC5AF251328A}"/>
          </ac:graphicFrameMkLst>
        </pc:graphicFrameChg>
        <pc:picChg chg="add del mod">
          <ac:chgData name="Christopher Schulz" userId="c7a37fbc-fc18-47fa-bc4e-1f96df76f530" providerId="ADAL" clId="{EAE2171F-DF41-604A-B96D-11A863CBD639}" dt="2020-01-05T14:53:06.517" v="1467" actId="478"/>
          <ac:picMkLst>
            <pc:docMk/>
            <pc:sldMk cId="3192340078" sldId="439"/>
            <ac:picMk id="4" creationId="{316ADC22-3A4F-DD4E-A52A-44F5D48F8D63}"/>
          </ac:picMkLst>
        </pc:picChg>
        <pc:picChg chg="add mod modCrop">
          <ac:chgData name="Christopher Schulz" userId="c7a37fbc-fc18-47fa-bc4e-1f96df76f530" providerId="ADAL" clId="{EAE2171F-DF41-604A-B96D-11A863CBD639}" dt="2020-01-05T14:53:51.956" v="1476" actId="1076"/>
          <ac:picMkLst>
            <pc:docMk/>
            <pc:sldMk cId="3192340078" sldId="439"/>
            <ac:picMk id="5" creationId="{A2FD4524-F78C-CD43-8BD6-C42A11BA0315}"/>
          </ac:picMkLst>
        </pc:picChg>
        <pc:picChg chg="add mod">
          <ac:chgData name="Christopher Schulz" userId="c7a37fbc-fc18-47fa-bc4e-1f96df76f530" providerId="ADAL" clId="{EAE2171F-DF41-604A-B96D-11A863CBD639}" dt="2020-01-07T09:04:13.883" v="2098" actId="1076"/>
          <ac:picMkLst>
            <pc:docMk/>
            <pc:sldMk cId="3192340078" sldId="439"/>
            <ac:picMk id="11" creationId="{96242761-BBA8-D24E-AF90-7EC3FBE03D21}"/>
          </ac:picMkLst>
        </pc:picChg>
      </pc:sldChg>
      <pc:sldChg chg="addSp delSp modSp add">
        <pc:chgData name="Christopher Schulz" userId="c7a37fbc-fc18-47fa-bc4e-1f96df76f530" providerId="ADAL" clId="{EAE2171F-DF41-604A-B96D-11A863CBD639}" dt="2020-01-05T15:30:52.962" v="1934" actId="790"/>
        <pc:sldMkLst>
          <pc:docMk/>
          <pc:sldMk cId="3209056058" sldId="440"/>
        </pc:sldMkLst>
        <pc:spChg chg="del">
          <ac:chgData name="Christopher Schulz" userId="c7a37fbc-fc18-47fa-bc4e-1f96df76f530" providerId="ADAL" clId="{EAE2171F-DF41-604A-B96D-11A863CBD639}" dt="2020-01-05T15:23:32.623" v="1882" actId="478"/>
          <ac:spMkLst>
            <pc:docMk/>
            <pc:sldMk cId="3209056058" sldId="440"/>
            <ac:spMk id="2" creationId="{EB45F231-E487-4271-9057-B362EF649847}"/>
          </ac:spMkLst>
        </pc:spChg>
        <pc:spChg chg="del">
          <ac:chgData name="Christopher Schulz" userId="c7a37fbc-fc18-47fa-bc4e-1f96df76f530" providerId="ADAL" clId="{EAE2171F-DF41-604A-B96D-11A863CBD639}" dt="2020-01-05T15:27:00.860" v="1914" actId="478"/>
          <ac:spMkLst>
            <pc:docMk/>
            <pc:sldMk cId="3209056058" sldId="440"/>
            <ac:spMk id="6" creationId="{E6BCA6DC-87A3-45A3-8418-850F5E83F93D}"/>
          </ac:spMkLst>
        </pc:spChg>
        <pc:spChg chg="add del mod">
          <ac:chgData name="Christopher Schulz" userId="c7a37fbc-fc18-47fa-bc4e-1f96df76f530" providerId="ADAL" clId="{EAE2171F-DF41-604A-B96D-11A863CBD639}" dt="2020-01-05T15:26:31.444" v="1905"/>
          <ac:spMkLst>
            <pc:docMk/>
            <pc:sldMk cId="3209056058" sldId="440"/>
            <ac:spMk id="9" creationId="{008C0B07-2AE8-5A48-8129-24DEAA701F74}"/>
          </ac:spMkLst>
        </pc:spChg>
        <pc:spChg chg="add del mod">
          <ac:chgData name="Christopher Schulz" userId="c7a37fbc-fc18-47fa-bc4e-1f96df76f530" providerId="ADAL" clId="{EAE2171F-DF41-604A-B96D-11A863CBD639}" dt="2020-01-05T15:26:31.444" v="1905"/>
          <ac:spMkLst>
            <pc:docMk/>
            <pc:sldMk cId="3209056058" sldId="440"/>
            <ac:spMk id="10" creationId="{5B0CEB5D-A03D-F04F-A69D-52C9D2532B0E}"/>
          </ac:spMkLst>
        </pc:spChg>
        <pc:spChg chg="add del mod">
          <ac:chgData name="Christopher Schulz" userId="c7a37fbc-fc18-47fa-bc4e-1f96df76f530" providerId="ADAL" clId="{EAE2171F-DF41-604A-B96D-11A863CBD639}" dt="2020-01-05T15:26:31.444" v="1905"/>
          <ac:spMkLst>
            <pc:docMk/>
            <pc:sldMk cId="3209056058" sldId="440"/>
            <ac:spMk id="11" creationId="{7B314655-470A-B040-8212-17D52103718D}"/>
          </ac:spMkLst>
        </pc:spChg>
        <pc:spChg chg="add del">
          <ac:chgData name="Christopher Schulz" userId="c7a37fbc-fc18-47fa-bc4e-1f96df76f530" providerId="ADAL" clId="{EAE2171F-DF41-604A-B96D-11A863CBD639}" dt="2020-01-05T15:30:08.031" v="1932" actId="478"/>
          <ac:spMkLst>
            <pc:docMk/>
            <pc:sldMk cId="3209056058" sldId="440"/>
            <ac:spMk id="12" creationId="{32EF9AB9-F3CC-6340-AFA5-FD80FF545825}"/>
          </ac:spMkLst>
        </pc:spChg>
        <pc:spChg chg="add mod">
          <ac:chgData name="Christopher Schulz" userId="c7a37fbc-fc18-47fa-bc4e-1f96df76f530" providerId="ADAL" clId="{EAE2171F-DF41-604A-B96D-11A863CBD639}" dt="2020-01-05T15:29:31.542" v="1929" actId="207"/>
          <ac:spMkLst>
            <pc:docMk/>
            <pc:sldMk cId="3209056058" sldId="440"/>
            <ac:spMk id="13" creationId="{A7BE49FE-EFD3-864D-8CE2-75132BE98557}"/>
          </ac:spMkLst>
        </pc:spChg>
        <pc:spChg chg="add del mod">
          <ac:chgData name="Christopher Schulz" userId="c7a37fbc-fc18-47fa-bc4e-1f96df76f530" providerId="ADAL" clId="{EAE2171F-DF41-604A-B96D-11A863CBD639}" dt="2020-01-05T15:29:21.236" v="1928" actId="478"/>
          <ac:spMkLst>
            <pc:docMk/>
            <pc:sldMk cId="3209056058" sldId="440"/>
            <ac:spMk id="14" creationId="{3A016E2D-7A20-464F-B697-8891ADD0849C}"/>
          </ac:spMkLst>
        </pc:spChg>
        <pc:spChg chg="add mod">
          <ac:chgData name="Christopher Schulz" userId="c7a37fbc-fc18-47fa-bc4e-1f96df76f530" providerId="ADAL" clId="{EAE2171F-DF41-604A-B96D-11A863CBD639}" dt="2020-01-05T15:30:52.962" v="1934" actId="790"/>
          <ac:spMkLst>
            <pc:docMk/>
            <pc:sldMk cId="3209056058" sldId="440"/>
            <ac:spMk id="16" creationId="{B6283CED-F12B-D640-B69C-31DCB8F74681}"/>
          </ac:spMkLst>
        </pc:spChg>
        <pc:picChg chg="del">
          <ac:chgData name="Christopher Schulz" userId="c7a37fbc-fc18-47fa-bc4e-1f96df76f530" providerId="ADAL" clId="{EAE2171F-DF41-604A-B96D-11A863CBD639}" dt="2020-01-05T15:23:33.579" v="1883" actId="478"/>
          <ac:picMkLst>
            <pc:docMk/>
            <pc:sldMk cId="3209056058" sldId="440"/>
            <ac:picMk id="3" creationId="{C1084879-260D-453B-8097-6930EC92BC9B}"/>
          </ac:picMkLst>
        </pc:picChg>
        <pc:picChg chg="add mod modCrop">
          <ac:chgData name="Christopher Schulz" userId="c7a37fbc-fc18-47fa-bc4e-1f96df76f530" providerId="ADAL" clId="{EAE2171F-DF41-604A-B96D-11A863CBD639}" dt="2020-01-05T15:27:34.360" v="1919" actId="732"/>
          <ac:picMkLst>
            <pc:docMk/>
            <pc:sldMk cId="3209056058" sldId="440"/>
            <ac:picMk id="4" creationId="{69A7AD35-8B5F-AC4E-B90B-C98B7400A837}"/>
          </ac:picMkLst>
        </pc:picChg>
        <pc:picChg chg="del">
          <ac:chgData name="Christopher Schulz" userId="c7a37fbc-fc18-47fa-bc4e-1f96df76f530" providerId="ADAL" clId="{EAE2171F-DF41-604A-B96D-11A863CBD639}" dt="2020-01-05T15:27:00.860" v="1914" actId="478"/>
          <ac:picMkLst>
            <pc:docMk/>
            <pc:sldMk cId="3209056058" sldId="440"/>
            <ac:picMk id="7" creationId="{3CAB693A-9ABC-4703-B015-2ECBC6CC2C87}"/>
          </ac:picMkLst>
        </pc:picChg>
        <pc:picChg chg="add mod">
          <ac:chgData name="Christopher Schulz" userId="c7a37fbc-fc18-47fa-bc4e-1f96df76f530" providerId="ADAL" clId="{EAE2171F-DF41-604A-B96D-11A863CBD639}" dt="2020-01-05T15:28:05.558" v="1924" actId="1076"/>
          <ac:picMkLst>
            <pc:docMk/>
            <pc:sldMk cId="3209056058" sldId="440"/>
            <ac:picMk id="15" creationId="{10EEA0E8-2442-4648-BD4C-4664942A584F}"/>
          </ac:picMkLst>
        </pc:picChg>
      </pc:sldChg>
    </pc:docChg>
  </pc:docChgLst>
  <pc:docChgLst>
    <pc:chgData name="Tobias Smuda" userId="5e6210db-75d9-4bfc-abc0-b17d669d9543" providerId="ADAL" clId="{66A395C6-7F87-4899-BCE0-F5BFE752B9D0}"/>
    <pc:docChg chg="undo custSel addSld delSld modSld">
      <pc:chgData name="Tobias Smuda" userId="5e6210db-75d9-4bfc-abc0-b17d669d9543" providerId="ADAL" clId="{66A395C6-7F87-4899-BCE0-F5BFE752B9D0}" dt="2019-11-12T07:28:15.180" v="1604" actId="20577"/>
      <pc:docMkLst>
        <pc:docMk/>
      </pc:docMkLst>
      <pc:sldChg chg="modSp">
        <pc:chgData name="Tobias Smuda" userId="5e6210db-75d9-4bfc-abc0-b17d669d9543" providerId="ADAL" clId="{66A395C6-7F87-4899-BCE0-F5BFE752B9D0}" dt="2019-11-10T14:38:50.685" v="1585" actId="20577"/>
        <pc:sldMkLst>
          <pc:docMk/>
          <pc:sldMk cId="3168066364" sldId="256"/>
        </pc:sldMkLst>
        <pc:graphicFrameChg chg="mod modGraphic">
          <ac:chgData name="Tobias Smuda" userId="5e6210db-75d9-4bfc-abc0-b17d669d9543" providerId="ADAL" clId="{66A395C6-7F87-4899-BCE0-F5BFE752B9D0}" dt="2019-11-10T14:38:50.685" v="1585" actId="20577"/>
          <ac:graphicFrameMkLst>
            <pc:docMk/>
            <pc:sldMk cId="3168066364" sldId="256"/>
            <ac:graphicFrameMk id="6" creationId="{78112048-7899-1C44-B8EC-A001E6C13E15}"/>
          </ac:graphicFrameMkLst>
        </pc:graphicFrameChg>
      </pc:sldChg>
      <pc:sldChg chg="modSp">
        <pc:chgData name="Tobias Smuda" userId="5e6210db-75d9-4bfc-abc0-b17d669d9543" providerId="ADAL" clId="{66A395C6-7F87-4899-BCE0-F5BFE752B9D0}" dt="2019-11-10T13:52:22.078" v="968" actId="20577"/>
        <pc:sldMkLst>
          <pc:docMk/>
          <pc:sldMk cId="1432570934" sldId="428"/>
        </pc:sldMkLst>
        <pc:graphicFrameChg chg="modGraphic">
          <ac:chgData name="Tobias Smuda" userId="5e6210db-75d9-4bfc-abc0-b17d669d9543" providerId="ADAL" clId="{66A395C6-7F87-4899-BCE0-F5BFE752B9D0}" dt="2019-11-10T13:52:22.078" v="968" actId="20577"/>
          <ac:graphicFrameMkLst>
            <pc:docMk/>
            <pc:sldMk cId="1432570934" sldId="428"/>
            <ac:graphicFrameMk id="5" creationId="{53782371-3C58-B941-A0BE-E63C5F98656D}"/>
          </ac:graphicFrameMkLst>
        </pc:graphicFrameChg>
      </pc:sldChg>
      <pc:sldChg chg="modSp">
        <pc:chgData name="Tobias Smuda" userId="5e6210db-75d9-4bfc-abc0-b17d669d9543" providerId="ADAL" clId="{66A395C6-7F87-4899-BCE0-F5BFE752B9D0}" dt="2019-11-10T14:27:19.960" v="1541" actId="20577"/>
        <pc:sldMkLst>
          <pc:docMk/>
          <pc:sldMk cId="269611952" sldId="430"/>
        </pc:sldMkLst>
        <pc:graphicFrameChg chg="mod modGraphic">
          <ac:chgData name="Tobias Smuda" userId="5e6210db-75d9-4bfc-abc0-b17d669d9543" providerId="ADAL" clId="{66A395C6-7F87-4899-BCE0-F5BFE752B9D0}" dt="2019-11-10T14:27:19.960" v="1541" actId="20577"/>
          <ac:graphicFrameMkLst>
            <pc:docMk/>
            <pc:sldMk cId="269611952" sldId="430"/>
            <ac:graphicFrameMk id="5" creationId="{D4A21EAF-1079-9045-B1A4-CA2DA7847228}"/>
          </ac:graphicFrameMkLst>
        </pc:graphicFrameChg>
      </pc:sldChg>
      <pc:sldChg chg="modSp del">
        <pc:chgData name="Tobias Smuda" userId="5e6210db-75d9-4bfc-abc0-b17d669d9543" providerId="ADAL" clId="{66A395C6-7F87-4899-BCE0-F5BFE752B9D0}" dt="2019-11-10T14:25:18.944" v="1530" actId="47"/>
        <pc:sldMkLst>
          <pc:docMk/>
          <pc:sldMk cId="4149209076" sldId="431"/>
        </pc:sldMkLst>
        <pc:graphicFrameChg chg="mod modGraphic">
          <ac:chgData name="Tobias Smuda" userId="5e6210db-75d9-4bfc-abc0-b17d669d9543" providerId="ADAL" clId="{66A395C6-7F87-4899-BCE0-F5BFE752B9D0}" dt="2019-11-10T13:50:53.999" v="948"/>
          <ac:graphicFrameMkLst>
            <pc:docMk/>
            <pc:sldMk cId="4149209076" sldId="431"/>
            <ac:graphicFrameMk id="4" creationId="{9E31AC4F-82BF-F54A-ABA7-51F70B62D1E1}"/>
          </ac:graphicFrameMkLst>
        </pc:graphicFrameChg>
        <pc:graphicFrameChg chg="modGraphic">
          <ac:chgData name="Tobias Smuda" userId="5e6210db-75d9-4bfc-abc0-b17d669d9543" providerId="ADAL" clId="{66A395C6-7F87-4899-BCE0-F5BFE752B9D0}" dt="2019-11-10T13:50:56.817" v="949" actId="108"/>
          <ac:graphicFrameMkLst>
            <pc:docMk/>
            <pc:sldMk cId="4149209076" sldId="431"/>
            <ac:graphicFrameMk id="7" creationId="{C9872F59-0A6E-6449-94F7-0CF6C97B4C81}"/>
          </ac:graphicFrameMkLst>
        </pc:graphicFrameChg>
      </pc:sldChg>
      <pc:sldChg chg="addSp delSp modSp">
        <pc:chgData name="Tobias Smuda" userId="5e6210db-75d9-4bfc-abc0-b17d669d9543" providerId="ADAL" clId="{66A395C6-7F87-4899-BCE0-F5BFE752B9D0}" dt="2019-11-10T14:36:59.392" v="1574" actId="20577"/>
        <pc:sldMkLst>
          <pc:docMk/>
          <pc:sldMk cId="2682155137" sldId="433"/>
        </pc:sldMkLst>
        <pc:graphicFrameChg chg="modGraphic">
          <ac:chgData name="Tobias Smuda" userId="5e6210db-75d9-4bfc-abc0-b17d669d9543" providerId="ADAL" clId="{66A395C6-7F87-4899-BCE0-F5BFE752B9D0}" dt="2019-11-10T14:36:59.392" v="1574" actId="20577"/>
          <ac:graphicFrameMkLst>
            <pc:docMk/>
            <pc:sldMk cId="2682155137" sldId="433"/>
            <ac:graphicFrameMk id="4" creationId="{C40E432C-AA28-D749-BB85-FFA7057CDF3E}"/>
          </ac:graphicFrameMkLst>
        </pc:graphicFrameChg>
        <pc:graphicFrameChg chg="mod modGraphic">
          <ac:chgData name="Tobias Smuda" userId="5e6210db-75d9-4bfc-abc0-b17d669d9543" providerId="ADAL" clId="{66A395C6-7F87-4899-BCE0-F5BFE752B9D0}" dt="2019-11-10T13:49:57.178" v="936"/>
          <ac:graphicFrameMkLst>
            <pc:docMk/>
            <pc:sldMk cId="2682155137" sldId="433"/>
            <ac:graphicFrameMk id="5" creationId="{10E0FAC1-310C-0143-AD00-556F6A0E79CB}"/>
          </ac:graphicFrameMkLst>
        </pc:graphicFrameChg>
        <pc:graphicFrameChg chg="add del mod modGraphic">
          <ac:chgData name="Tobias Smuda" userId="5e6210db-75d9-4bfc-abc0-b17d669d9543" providerId="ADAL" clId="{66A395C6-7F87-4899-BCE0-F5BFE752B9D0}" dt="2019-11-10T13:45:30.586" v="766" actId="478"/>
          <ac:graphicFrameMkLst>
            <pc:docMk/>
            <pc:sldMk cId="2682155137" sldId="433"/>
            <ac:graphicFrameMk id="6" creationId="{5A38AA5F-9CBC-47CF-B6DD-5F0CF0D21B38}"/>
          </ac:graphicFrameMkLst>
        </pc:graphicFrameChg>
      </pc:sldChg>
      <pc:sldChg chg="del">
        <pc:chgData name="Tobias Smuda" userId="5e6210db-75d9-4bfc-abc0-b17d669d9543" providerId="ADAL" clId="{66A395C6-7F87-4899-BCE0-F5BFE752B9D0}" dt="2019-11-09T11:47:11.696" v="284" actId="47"/>
        <pc:sldMkLst>
          <pc:docMk/>
          <pc:sldMk cId="3859421926" sldId="434"/>
        </pc:sldMkLst>
      </pc:sldChg>
      <pc:sldChg chg="addSp delSp modSp add">
        <pc:chgData name="Tobias Smuda" userId="5e6210db-75d9-4bfc-abc0-b17d669d9543" providerId="ADAL" clId="{66A395C6-7F87-4899-BCE0-F5BFE752B9D0}" dt="2019-11-10T13:51:55.302" v="958" actId="20577"/>
        <pc:sldMkLst>
          <pc:docMk/>
          <pc:sldMk cId="1131587553" sldId="437"/>
        </pc:sldMkLst>
        <pc:spChg chg="add del mod">
          <ac:chgData name="Tobias Smuda" userId="5e6210db-75d9-4bfc-abc0-b17d669d9543" providerId="ADAL" clId="{66A395C6-7F87-4899-BCE0-F5BFE752B9D0}" dt="2019-11-09T11:53:51.840" v="521" actId="207"/>
          <ac:spMkLst>
            <pc:docMk/>
            <pc:sldMk cId="1131587553" sldId="437"/>
            <ac:spMk id="2" creationId="{EB45F231-E487-4271-9057-B362EF649847}"/>
          </ac:spMkLst>
        </pc:spChg>
        <pc:spChg chg="add mod">
          <ac:chgData name="Tobias Smuda" userId="5e6210db-75d9-4bfc-abc0-b17d669d9543" providerId="ADAL" clId="{66A395C6-7F87-4899-BCE0-F5BFE752B9D0}" dt="2019-11-09T11:52:31.806" v="481" actId="1036"/>
          <ac:spMkLst>
            <pc:docMk/>
            <pc:sldMk cId="1131587553" sldId="437"/>
            <ac:spMk id="5" creationId="{ADE22E13-F18C-46B2-969E-3B013F351CED}"/>
          </ac:spMkLst>
        </pc:spChg>
        <pc:spChg chg="add mod">
          <ac:chgData name="Tobias Smuda" userId="5e6210db-75d9-4bfc-abc0-b17d669d9543" providerId="ADAL" clId="{66A395C6-7F87-4899-BCE0-F5BFE752B9D0}" dt="2019-11-09T11:42:51.240" v="124" actId="14100"/>
          <ac:spMkLst>
            <pc:docMk/>
            <pc:sldMk cId="1131587553" sldId="437"/>
            <ac:spMk id="6" creationId="{E6BCA6DC-87A3-45A3-8418-850F5E83F93D}"/>
          </ac:spMkLst>
        </pc:spChg>
        <pc:spChg chg="add mod">
          <ac:chgData name="Tobias Smuda" userId="5e6210db-75d9-4bfc-abc0-b17d669d9543" providerId="ADAL" clId="{66A395C6-7F87-4899-BCE0-F5BFE752B9D0}" dt="2019-11-10T13:51:55.302" v="958" actId="20577"/>
          <ac:spMkLst>
            <pc:docMk/>
            <pc:sldMk cId="1131587553" sldId="437"/>
            <ac:spMk id="8" creationId="{D596532F-93B4-474D-9305-298699D9090B}"/>
          </ac:spMkLst>
        </pc:spChg>
        <pc:picChg chg="add mod modCrop">
          <ac:chgData name="Tobias Smuda" userId="5e6210db-75d9-4bfc-abc0-b17d669d9543" providerId="ADAL" clId="{66A395C6-7F87-4899-BCE0-F5BFE752B9D0}" dt="2019-11-09T11:40:50.591" v="37" actId="29295"/>
          <ac:picMkLst>
            <pc:docMk/>
            <pc:sldMk cId="1131587553" sldId="437"/>
            <ac:picMk id="3" creationId="{C1084879-260D-453B-8097-6930EC92BC9B}"/>
          </ac:picMkLst>
        </pc:picChg>
        <pc:picChg chg="del">
          <ac:chgData name="Tobias Smuda" userId="5e6210db-75d9-4bfc-abc0-b17d669d9543" providerId="ADAL" clId="{66A395C6-7F87-4899-BCE0-F5BFE752B9D0}" dt="2019-11-09T11:36:50.749" v="3" actId="478"/>
          <ac:picMkLst>
            <pc:docMk/>
            <pc:sldMk cId="1131587553" sldId="437"/>
            <ac:picMk id="4" creationId="{CD77BADB-F66D-494E-9B1D-65033494C491}"/>
          </ac:picMkLst>
        </pc:picChg>
        <pc:picChg chg="add mod">
          <ac:chgData name="Tobias Smuda" userId="5e6210db-75d9-4bfc-abc0-b17d669d9543" providerId="ADAL" clId="{66A395C6-7F87-4899-BCE0-F5BFE752B9D0}" dt="2019-11-09T11:53:32.042" v="484" actId="1076"/>
          <ac:picMkLst>
            <pc:docMk/>
            <pc:sldMk cId="1131587553" sldId="437"/>
            <ac:picMk id="7" creationId="{3CAB693A-9ABC-4703-B015-2ECBC6CC2C87}"/>
          </ac:picMkLst>
        </pc:picChg>
      </pc:sldChg>
      <pc:sldChg chg="add del">
        <pc:chgData name="Tobias Smuda" userId="5e6210db-75d9-4bfc-abc0-b17d669d9543" providerId="ADAL" clId="{66A395C6-7F87-4899-BCE0-F5BFE752B9D0}" dt="2019-11-09T11:34:48.719" v="1" actId="47"/>
        <pc:sldMkLst>
          <pc:docMk/>
          <pc:sldMk cId="3118605669" sldId="437"/>
        </pc:sldMkLst>
      </pc:sldChg>
      <pc:sldChg chg="modSp add">
        <pc:chgData name="Tobias Smuda" userId="5e6210db-75d9-4bfc-abc0-b17d669d9543" providerId="ADAL" clId="{66A395C6-7F87-4899-BCE0-F5BFE752B9D0}" dt="2019-11-12T07:28:15.180" v="1604" actId="20577"/>
        <pc:sldMkLst>
          <pc:docMk/>
          <pc:sldMk cId="2361912370" sldId="438"/>
        </pc:sldMkLst>
        <pc:graphicFrameChg chg="mod modGraphic">
          <ac:chgData name="Tobias Smuda" userId="5e6210db-75d9-4bfc-abc0-b17d669d9543" providerId="ADAL" clId="{66A395C6-7F87-4899-BCE0-F5BFE752B9D0}" dt="2019-11-12T07:28:15.180" v="1604" actId="20577"/>
          <ac:graphicFrameMkLst>
            <pc:docMk/>
            <pc:sldMk cId="2361912370" sldId="438"/>
            <ac:graphicFrameMk id="4" creationId="{9E31AC4F-82BF-F54A-ABA7-51F70B62D1E1}"/>
          </ac:graphicFrameMkLst>
        </pc:graphicFrameChg>
        <pc:graphicFrameChg chg="mod modGraphic">
          <ac:chgData name="Tobias Smuda" userId="5e6210db-75d9-4bfc-abc0-b17d669d9543" providerId="ADAL" clId="{66A395C6-7F87-4899-BCE0-F5BFE752B9D0}" dt="2019-11-10T14:25:08.890" v="1529" actId="20577"/>
          <ac:graphicFrameMkLst>
            <pc:docMk/>
            <pc:sldMk cId="2361912370" sldId="438"/>
            <ac:graphicFrameMk id="7" creationId="{C9872F59-0A6E-6449-94F7-0CF6C97B4C81}"/>
          </ac:graphicFrameMkLst>
        </pc:graphicFrameChg>
      </pc:sldChg>
    </pc:docChg>
  </pc:docChgLst>
  <pc:docChgLst>
    <pc:chgData name="Christopher Schulz" userId="c7a37fbc-fc18-47fa-bc4e-1f96df76f530" providerId="ADAL" clId="{30E24DF9-1E64-5E49-B04B-9EB3D30DEAB4}"/>
    <pc:docChg chg="modSld">
      <pc:chgData name="Christopher Schulz" userId="c7a37fbc-fc18-47fa-bc4e-1f96df76f530" providerId="ADAL" clId="{30E24DF9-1E64-5E49-B04B-9EB3D30DEAB4}" dt="2020-02-13T18:38:31.586" v="2" actId="1076"/>
      <pc:docMkLst>
        <pc:docMk/>
      </pc:docMkLst>
      <pc:sldChg chg="modSp">
        <pc:chgData name="Christopher Schulz" userId="c7a37fbc-fc18-47fa-bc4e-1f96df76f530" providerId="ADAL" clId="{30E24DF9-1E64-5E49-B04B-9EB3D30DEAB4}" dt="2020-02-13T18:38:31.586" v="2" actId="1076"/>
        <pc:sldMkLst>
          <pc:docMk/>
          <pc:sldMk cId="3209056058" sldId="440"/>
        </pc:sldMkLst>
        <pc:spChg chg="mod">
          <ac:chgData name="Christopher Schulz" userId="c7a37fbc-fc18-47fa-bc4e-1f96df76f530" providerId="ADAL" clId="{30E24DF9-1E64-5E49-B04B-9EB3D30DEAB4}" dt="2020-02-13T18:38:31.586" v="2" actId="1076"/>
          <ac:spMkLst>
            <pc:docMk/>
            <pc:sldMk cId="3209056058" sldId="440"/>
            <ac:spMk id="12" creationId="{32EF9AB9-F3CC-6340-AFA5-FD80FF545825}"/>
          </ac:spMkLst>
        </pc:spChg>
        <pc:picChg chg="mod">
          <ac:chgData name="Christopher Schulz" userId="c7a37fbc-fc18-47fa-bc4e-1f96df76f530" providerId="ADAL" clId="{30E24DF9-1E64-5E49-B04B-9EB3D30DEAB4}" dt="2020-02-13T18:38:27.283" v="1" actId="18331"/>
          <ac:picMkLst>
            <pc:docMk/>
            <pc:sldMk cId="3209056058" sldId="440"/>
            <ac:picMk id="5" creationId="{CB4EEF46-D9DA-C346-B025-B21C8C8541AB}"/>
          </ac:picMkLst>
        </pc:picChg>
      </pc:sldChg>
    </pc:docChg>
  </pc:docChgLst>
  <pc:docChgLst>
    <pc:chgData name="Christopher Schulz" userId="c7a37fbc-fc18-47fa-bc4e-1f96df76f530" providerId="ADAL" clId="{5D2A2956-DDF1-DE44-AFC1-664ADE511947}"/>
    <pc:docChg chg="undo redo custSel addSld delSld modSld delMainMaster modMainMaster">
      <pc:chgData name="Christopher Schulz" userId="c7a37fbc-fc18-47fa-bc4e-1f96df76f530" providerId="ADAL" clId="{5D2A2956-DDF1-DE44-AFC1-664ADE511947}" dt="2020-11-25T20:30:28.687" v="1776" actId="2696"/>
      <pc:docMkLst>
        <pc:docMk/>
      </pc:docMkLst>
      <pc:sldChg chg="addSp delSp modSp mod">
        <pc:chgData name="Christopher Schulz" userId="c7a37fbc-fc18-47fa-bc4e-1f96df76f530" providerId="ADAL" clId="{5D2A2956-DDF1-DE44-AFC1-664ADE511947}" dt="2020-11-25T20:25:54.226" v="1775" actId="1035"/>
        <pc:sldMkLst>
          <pc:docMk/>
          <pc:sldMk cId="3168066364" sldId="256"/>
        </pc:sldMkLst>
        <pc:spChg chg="mod">
          <ac:chgData name="Christopher Schulz" userId="c7a37fbc-fc18-47fa-bc4e-1f96df76f530" providerId="ADAL" clId="{5D2A2956-DDF1-DE44-AFC1-664ADE511947}" dt="2020-11-25T20:20:17.074" v="1699" actId="2"/>
          <ac:spMkLst>
            <pc:docMk/>
            <pc:sldMk cId="3168066364" sldId="256"/>
            <ac:spMk id="2" creationId="{D68C5A50-1913-4507-988E-B3319E45906C}"/>
          </ac:spMkLst>
        </pc:spChg>
        <pc:spChg chg="mod">
          <ac:chgData name="Christopher Schulz" userId="c7a37fbc-fc18-47fa-bc4e-1f96df76f530" providerId="ADAL" clId="{5D2A2956-DDF1-DE44-AFC1-664ADE511947}" dt="2020-11-25T20:09:20.431" v="1496" actId="20577"/>
          <ac:spMkLst>
            <pc:docMk/>
            <pc:sldMk cId="3168066364" sldId="256"/>
            <ac:spMk id="3" creationId="{5F0B0340-28DE-4C04-BA5A-1EB9C2F0782D}"/>
          </ac:spMkLst>
        </pc:spChg>
        <pc:spChg chg="add mod">
          <ac:chgData name="Christopher Schulz" userId="c7a37fbc-fc18-47fa-bc4e-1f96df76f530" providerId="ADAL" clId="{5D2A2956-DDF1-DE44-AFC1-664ADE511947}" dt="2020-11-25T20:25:39.755" v="1770" actId="1036"/>
          <ac:spMkLst>
            <pc:docMk/>
            <pc:sldMk cId="3168066364" sldId="256"/>
            <ac:spMk id="10" creationId="{2073CBF1-6ED9-C044-B0A3-A75813C07F3A}"/>
          </ac:spMkLst>
        </pc:spChg>
        <pc:spChg chg="del">
          <ac:chgData name="Christopher Schulz" userId="c7a37fbc-fc18-47fa-bc4e-1f96df76f530" providerId="ADAL" clId="{5D2A2956-DDF1-DE44-AFC1-664ADE511947}" dt="2020-11-25T19:44:38.804" v="181" actId="478"/>
          <ac:spMkLst>
            <pc:docMk/>
            <pc:sldMk cId="3168066364" sldId="256"/>
            <ac:spMk id="28" creationId="{993A75D2-698C-F34A-A4D3-6FA98293C1F1}"/>
          </ac:spMkLst>
        </pc:spChg>
        <pc:spChg chg="del">
          <ac:chgData name="Christopher Schulz" userId="c7a37fbc-fc18-47fa-bc4e-1f96df76f530" providerId="ADAL" clId="{5D2A2956-DDF1-DE44-AFC1-664ADE511947}" dt="2020-11-25T19:44:38.804" v="181" actId="478"/>
          <ac:spMkLst>
            <pc:docMk/>
            <pc:sldMk cId="3168066364" sldId="256"/>
            <ac:spMk id="29" creationId="{41A6BA53-82AB-F64F-851B-D5E4E2C3C1BC}"/>
          </ac:spMkLst>
        </pc:spChg>
        <pc:spChg chg="del">
          <ac:chgData name="Christopher Schulz" userId="c7a37fbc-fc18-47fa-bc4e-1f96df76f530" providerId="ADAL" clId="{5D2A2956-DDF1-DE44-AFC1-664ADE511947}" dt="2020-11-25T19:44:38.804" v="181" actId="478"/>
          <ac:spMkLst>
            <pc:docMk/>
            <pc:sldMk cId="3168066364" sldId="256"/>
            <ac:spMk id="30" creationId="{A165F9A2-D236-6B4D-ABCC-0F7F06E8D023}"/>
          </ac:spMkLst>
        </pc:spChg>
        <pc:spChg chg="del">
          <ac:chgData name="Christopher Schulz" userId="c7a37fbc-fc18-47fa-bc4e-1f96df76f530" providerId="ADAL" clId="{5D2A2956-DDF1-DE44-AFC1-664ADE511947}" dt="2020-11-25T19:44:38.804" v="181" actId="478"/>
          <ac:spMkLst>
            <pc:docMk/>
            <pc:sldMk cId="3168066364" sldId="256"/>
            <ac:spMk id="31" creationId="{A2FC42A3-812D-DD4B-AA7A-6C8C5D121E5D}"/>
          </ac:spMkLst>
        </pc:spChg>
        <pc:spChg chg="del">
          <ac:chgData name="Christopher Schulz" userId="c7a37fbc-fc18-47fa-bc4e-1f96df76f530" providerId="ADAL" clId="{5D2A2956-DDF1-DE44-AFC1-664ADE511947}" dt="2020-11-25T19:44:38.804" v="181" actId="478"/>
          <ac:spMkLst>
            <pc:docMk/>
            <pc:sldMk cId="3168066364" sldId="256"/>
            <ac:spMk id="32" creationId="{77BC1A88-F7A0-344F-AA51-F843D7DF80D7}"/>
          </ac:spMkLst>
        </pc:spChg>
        <pc:spChg chg="del">
          <ac:chgData name="Christopher Schulz" userId="c7a37fbc-fc18-47fa-bc4e-1f96df76f530" providerId="ADAL" clId="{5D2A2956-DDF1-DE44-AFC1-664ADE511947}" dt="2020-11-25T19:44:38.804" v="181" actId="478"/>
          <ac:spMkLst>
            <pc:docMk/>
            <pc:sldMk cId="3168066364" sldId="256"/>
            <ac:spMk id="33" creationId="{337B578D-92F6-1E46-B629-139A96E209F0}"/>
          </ac:spMkLst>
        </pc:spChg>
        <pc:spChg chg="del">
          <ac:chgData name="Christopher Schulz" userId="c7a37fbc-fc18-47fa-bc4e-1f96df76f530" providerId="ADAL" clId="{5D2A2956-DDF1-DE44-AFC1-664ADE511947}" dt="2020-11-25T19:44:38.804" v="181" actId="478"/>
          <ac:spMkLst>
            <pc:docMk/>
            <pc:sldMk cId="3168066364" sldId="256"/>
            <ac:spMk id="34" creationId="{67C883F5-1969-3A45-9C21-B5D2CF28A5BA}"/>
          </ac:spMkLst>
        </pc:spChg>
        <pc:spChg chg="del">
          <ac:chgData name="Christopher Schulz" userId="c7a37fbc-fc18-47fa-bc4e-1f96df76f530" providerId="ADAL" clId="{5D2A2956-DDF1-DE44-AFC1-664ADE511947}" dt="2020-11-25T19:44:38.804" v="181" actId="478"/>
          <ac:spMkLst>
            <pc:docMk/>
            <pc:sldMk cId="3168066364" sldId="256"/>
            <ac:spMk id="35" creationId="{66BF1476-6EAF-2644-A18D-0654A7E4ED9B}"/>
          </ac:spMkLst>
        </pc:spChg>
        <pc:spChg chg="del">
          <ac:chgData name="Christopher Schulz" userId="c7a37fbc-fc18-47fa-bc4e-1f96df76f530" providerId="ADAL" clId="{5D2A2956-DDF1-DE44-AFC1-664ADE511947}" dt="2020-11-25T19:44:38.804" v="181" actId="478"/>
          <ac:spMkLst>
            <pc:docMk/>
            <pc:sldMk cId="3168066364" sldId="256"/>
            <ac:spMk id="36" creationId="{8676848F-8274-B043-BBDA-7FAA1016920B}"/>
          </ac:spMkLst>
        </pc:spChg>
        <pc:spChg chg="del">
          <ac:chgData name="Christopher Schulz" userId="c7a37fbc-fc18-47fa-bc4e-1f96df76f530" providerId="ADAL" clId="{5D2A2956-DDF1-DE44-AFC1-664ADE511947}" dt="2020-11-25T19:44:38.804" v="181" actId="478"/>
          <ac:spMkLst>
            <pc:docMk/>
            <pc:sldMk cId="3168066364" sldId="256"/>
            <ac:spMk id="37" creationId="{377B1386-06A4-804C-888F-640DB0DD37A2}"/>
          </ac:spMkLst>
        </pc:spChg>
        <pc:spChg chg="del">
          <ac:chgData name="Christopher Schulz" userId="c7a37fbc-fc18-47fa-bc4e-1f96df76f530" providerId="ADAL" clId="{5D2A2956-DDF1-DE44-AFC1-664ADE511947}" dt="2020-11-25T19:44:38.804" v="181" actId="478"/>
          <ac:spMkLst>
            <pc:docMk/>
            <pc:sldMk cId="3168066364" sldId="256"/>
            <ac:spMk id="48" creationId="{DAAA758C-0969-614C-BC21-80AA6498D771}"/>
          </ac:spMkLst>
        </pc:spChg>
        <pc:spChg chg="del">
          <ac:chgData name="Christopher Schulz" userId="c7a37fbc-fc18-47fa-bc4e-1f96df76f530" providerId="ADAL" clId="{5D2A2956-DDF1-DE44-AFC1-664ADE511947}" dt="2020-11-25T19:44:38.804" v="181" actId="478"/>
          <ac:spMkLst>
            <pc:docMk/>
            <pc:sldMk cId="3168066364" sldId="256"/>
            <ac:spMk id="49" creationId="{0ABCCA14-E445-2C46-ABF0-C9D8D859EA8F}"/>
          </ac:spMkLst>
        </pc:spChg>
        <pc:spChg chg="del">
          <ac:chgData name="Christopher Schulz" userId="c7a37fbc-fc18-47fa-bc4e-1f96df76f530" providerId="ADAL" clId="{5D2A2956-DDF1-DE44-AFC1-664ADE511947}" dt="2020-11-25T19:44:38.804" v="181" actId="478"/>
          <ac:spMkLst>
            <pc:docMk/>
            <pc:sldMk cId="3168066364" sldId="256"/>
            <ac:spMk id="50" creationId="{211F2800-C00E-3641-A785-E94776BCA1E4}"/>
          </ac:spMkLst>
        </pc:spChg>
        <pc:spChg chg="del">
          <ac:chgData name="Christopher Schulz" userId="c7a37fbc-fc18-47fa-bc4e-1f96df76f530" providerId="ADAL" clId="{5D2A2956-DDF1-DE44-AFC1-664ADE511947}" dt="2020-11-25T19:44:38.804" v="181" actId="478"/>
          <ac:spMkLst>
            <pc:docMk/>
            <pc:sldMk cId="3168066364" sldId="256"/>
            <ac:spMk id="51" creationId="{BAE80A55-CBF0-9844-B2DE-0E5192566324}"/>
          </ac:spMkLst>
        </pc:spChg>
        <pc:spChg chg="del">
          <ac:chgData name="Christopher Schulz" userId="c7a37fbc-fc18-47fa-bc4e-1f96df76f530" providerId="ADAL" clId="{5D2A2956-DDF1-DE44-AFC1-664ADE511947}" dt="2020-11-25T19:44:38.804" v="181" actId="478"/>
          <ac:spMkLst>
            <pc:docMk/>
            <pc:sldMk cId="3168066364" sldId="256"/>
            <ac:spMk id="52" creationId="{A692514C-9A90-BC48-97DB-AE7B340013DE}"/>
          </ac:spMkLst>
        </pc:spChg>
        <pc:spChg chg="add mod">
          <ac:chgData name="Christopher Schulz" userId="c7a37fbc-fc18-47fa-bc4e-1f96df76f530" providerId="ADAL" clId="{5D2A2956-DDF1-DE44-AFC1-664ADE511947}" dt="2020-11-25T20:25:39.755" v="1770" actId="1036"/>
          <ac:spMkLst>
            <pc:docMk/>
            <pc:sldMk cId="3168066364" sldId="256"/>
            <ac:spMk id="57" creationId="{9C2557AD-EA62-7347-99D7-C9BD9A819FE9}"/>
          </ac:spMkLst>
        </pc:spChg>
        <pc:spChg chg="add mod">
          <ac:chgData name="Christopher Schulz" userId="c7a37fbc-fc18-47fa-bc4e-1f96df76f530" providerId="ADAL" clId="{5D2A2956-DDF1-DE44-AFC1-664ADE511947}" dt="2020-11-25T20:25:39.755" v="1770" actId="1036"/>
          <ac:spMkLst>
            <pc:docMk/>
            <pc:sldMk cId="3168066364" sldId="256"/>
            <ac:spMk id="58" creationId="{ABD9F008-7465-7F4C-8EE5-61052DE4C74E}"/>
          </ac:spMkLst>
        </pc:spChg>
        <pc:spChg chg="add mod">
          <ac:chgData name="Christopher Schulz" userId="c7a37fbc-fc18-47fa-bc4e-1f96df76f530" providerId="ADAL" clId="{5D2A2956-DDF1-DE44-AFC1-664ADE511947}" dt="2020-11-25T20:25:39.755" v="1770" actId="1036"/>
          <ac:spMkLst>
            <pc:docMk/>
            <pc:sldMk cId="3168066364" sldId="256"/>
            <ac:spMk id="59" creationId="{A5E9A9EE-6972-3048-A28D-4C84B0E15E04}"/>
          </ac:spMkLst>
        </pc:spChg>
        <pc:spChg chg="add del mod">
          <ac:chgData name="Christopher Schulz" userId="c7a37fbc-fc18-47fa-bc4e-1f96df76f530" providerId="ADAL" clId="{5D2A2956-DDF1-DE44-AFC1-664ADE511947}" dt="2020-11-25T20:25:33.009" v="1768" actId="478"/>
          <ac:spMkLst>
            <pc:docMk/>
            <pc:sldMk cId="3168066364" sldId="256"/>
            <ac:spMk id="60" creationId="{D96F4056-E2DA-BF4F-8ADE-45A266CADC99}"/>
          </ac:spMkLst>
        </pc:spChg>
        <pc:graphicFrameChg chg="add del mod">
          <ac:chgData name="Christopher Schulz" userId="c7a37fbc-fc18-47fa-bc4e-1f96df76f530" providerId="ADAL" clId="{5D2A2956-DDF1-DE44-AFC1-664ADE511947}" dt="2020-11-25T19:44:45.803" v="183"/>
          <ac:graphicFrameMkLst>
            <pc:docMk/>
            <pc:sldMk cId="3168066364" sldId="256"/>
            <ac:graphicFrameMk id="53" creationId="{BFF3D6E2-D3DD-E341-A0C9-62E0B9CED38F}"/>
          </ac:graphicFrameMkLst>
        </pc:graphicFrameChg>
        <pc:graphicFrameChg chg="add del mod">
          <ac:chgData name="Christopher Schulz" userId="c7a37fbc-fc18-47fa-bc4e-1f96df76f530" providerId="ADAL" clId="{5D2A2956-DDF1-DE44-AFC1-664ADE511947}" dt="2020-11-25T19:45:05.805" v="188"/>
          <ac:graphicFrameMkLst>
            <pc:docMk/>
            <pc:sldMk cId="3168066364" sldId="256"/>
            <ac:graphicFrameMk id="54" creationId="{64C73BD5-D759-CC4A-8F06-766CF352030D}"/>
          </ac:graphicFrameMkLst>
        </pc:graphicFrameChg>
        <pc:graphicFrameChg chg="add mod modGraphic">
          <ac:chgData name="Christopher Schulz" userId="c7a37fbc-fc18-47fa-bc4e-1f96df76f530" providerId="ADAL" clId="{5D2A2956-DDF1-DE44-AFC1-664ADE511947}" dt="2020-11-25T20:25:54.226" v="1775" actId="1035"/>
          <ac:graphicFrameMkLst>
            <pc:docMk/>
            <pc:sldMk cId="3168066364" sldId="256"/>
            <ac:graphicFrameMk id="55" creationId="{28AD745B-4B79-5E41-BAE0-1CEC30A7BFCA}"/>
          </ac:graphicFrameMkLst>
        </pc:graphicFrameChg>
        <pc:picChg chg="add mod">
          <ac:chgData name="Christopher Schulz" userId="c7a37fbc-fc18-47fa-bc4e-1f96df76f530" providerId="ADAL" clId="{5D2A2956-DDF1-DE44-AFC1-664ADE511947}" dt="2020-11-25T20:25:54.226" v="1775" actId="1035"/>
          <ac:picMkLst>
            <pc:docMk/>
            <pc:sldMk cId="3168066364" sldId="256"/>
            <ac:picMk id="5" creationId="{50358E79-15D7-8347-881A-ED26DF643DDA}"/>
          </ac:picMkLst>
        </pc:picChg>
        <pc:picChg chg="add mod">
          <ac:chgData name="Christopher Schulz" userId="c7a37fbc-fc18-47fa-bc4e-1f96df76f530" providerId="ADAL" clId="{5D2A2956-DDF1-DE44-AFC1-664ADE511947}" dt="2020-11-25T20:25:54.226" v="1775" actId="1035"/>
          <ac:picMkLst>
            <pc:docMk/>
            <pc:sldMk cId="3168066364" sldId="256"/>
            <ac:picMk id="7" creationId="{B24540CC-17CD-BE43-B761-6476459B3FF1}"/>
          </ac:picMkLst>
        </pc:picChg>
        <pc:picChg chg="add mod">
          <ac:chgData name="Christopher Schulz" userId="c7a37fbc-fc18-47fa-bc4e-1f96df76f530" providerId="ADAL" clId="{5D2A2956-DDF1-DE44-AFC1-664ADE511947}" dt="2020-11-25T20:25:54.226" v="1775" actId="1035"/>
          <ac:picMkLst>
            <pc:docMk/>
            <pc:sldMk cId="3168066364" sldId="256"/>
            <ac:picMk id="9" creationId="{8C617DAA-6CCE-F24B-A06E-C01CC3FAAD1E}"/>
          </ac:picMkLst>
        </pc:picChg>
        <pc:picChg chg="add mod">
          <ac:chgData name="Christopher Schulz" userId="c7a37fbc-fc18-47fa-bc4e-1f96df76f530" providerId="ADAL" clId="{5D2A2956-DDF1-DE44-AFC1-664ADE511947}" dt="2020-11-25T20:25:39.755" v="1770" actId="1036"/>
          <ac:picMkLst>
            <pc:docMk/>
            <pc:sldMk cId="3168066364" sldId="256"/>
            <ac:picMk id="12" creationId="{0FD342CB-0333-DF4F-83A7-84628271E3EB}"/>
          </ac:picMkLst>
        </pc:picChg>
        <pc:picChg chg="add del mod">
          <ac:chgData name="Christopher Schulz" userId="c7a37fbc-fc18-47fa-bc4e-1f96df76f530" providerId="ADAL" clId="{5D2A2956-DDF1-DE44-AFC1-664ADE511947}" dt="2020-11-25T20:18:51.320" v="1660" actId="478"/>
          <ac:picMkLst>
            <pc:docMk/>
            <pc:sldMk cId="3168066364" sldId="256"/>
            <ac:picMk id="14" creationId="{F2A96B37-6B83-7040-97A0-0FCCFE8546E4}"/>
          </ac:picMkLst>
        </pc:picChg>
        <pc:picChg chg="add mod">
          <ac:chgData name="Christopher Schulz" userId="c7a37fbc-fc18-47fa-bc4e-1f96df76f530" providerId="ADAL" clId="{5D2A2956-DDF1-DE44-AFC1-664ADE511947}" dt="2020-11-25T20:25:39.755" v="1770" actId="1036"/>
          <ac:picMkLst>
            <pc:docMk/>
            <pc:sldMk cId="3168066364" sldId="256"/>
            <ac:picMk id="16" creationId="{831D6680-7CD0-594C-9B39-C11EA5C91A54}"/>
          </ac:picMkLst>
        </pc:picChg>
        <pc:picChg chg="add mod">
          <ac:chgData name="Christopher Schulz" userId="c7a37fbc-fc18-47fa-bc4e-1f96df76f530" providerId="ADAL" clId="{5D2A2956-DDF1-DE44-AFC1-664ADE511947}" dt="2020-11-25T20:25:39.755" v="1770" actId="1036"/>
          <ac:picMkLst>
            <pc:docMk/>
            <pc:sldMk cId="3168066364" sldId="256"/>
            <ac:picMk id="18" creationId="{096B4451-5C5B-E94A-8D65-83C114065E47}"/>
          </ac:picMkLst>
        </pc:picChg>
        <pc:picChg chg="add mod">
          <ac:chgData name="Christopher Schulz" userId="c7a37fbc-fc18-47fa-bc4e-1f96df76f530" providerId="ADAL" clId="{5D2A2956-DDF1-DE44-AFC1-664ADE511947}" dt="2020-11-25T20:25:39.755" v="1770" actId="1036"/>
          <ac:picMkLst>
            <pc:docMk/>
            <pc:sldMk cId="3168066364" sldId="256"/>
            <ac:picMk id="20" creationId="{72AAD3AF-D415-D942-83C4-5E06BF1272DD}"/>
          </ac:picMkLst>
        </pc:picChg>
        <pc:picChg chg="del">
          <ac:chgData name="Christopher Schulz" userId="c7a37fbc-fc18-47fa-bc4e-1f96df76f530" providerId="ADAL" clId="{5D2A2956-DDF1-DE44-AFC1-664ADE511947}" dt="2020-11-25T19:44:38.804" v="181" actId="478"/>
          <ac:picMkLst>
            <pc:docMk/>
            <pc:sldMk cId="3168066364" sldId="256"/>
            <ac:picMk id="38" creationId="{71E9FDFB-E761-7D4F-A46E-7BDD1ECCBACB}"/>
          </ac:picMkLst>
        </pc:picChg>
        <pc:picChg chg="del">
          <ac:chgData name="Christopher Schulz" userId="c7a37fbc-fc18-47fa-bc4e-1f96df76f530" providerId="ADAL" clId="{5D2A2956-DDF1-DE44-AFC1-664ADE511947}" dt="2020-11-25T19:44:38.804" v="181" actId="478"/>
          <ac:picMkLst>
            <pc:docMk/>
            <pc:sldMk cId="3168066364" sldId="256"/>
            <ac:picMk id="39" creationId="{5D1FB7CD-EABE-7A48-8ADD-89F3F74A08A1}"/>
          </ac:picMkLst>
        </pc:picChg>
        <pc:picChg chg="del">
          <ac:chgData name="Christopher Schulz" userId="c7a37fbc-fc18-47fa-bc4e-1f96df76f530" providerId="ADAL" clId="{5D2A2956-DDF1-DE44-AFC1-664ADE511947}" dt="2020-11-25T19:44:38.804" v="181" actId="478"/>
          <ac:picMkLst>
            <pc:docMk/>
            <pc:sldMk cId="3168066364" sldId="256"/>
            <ac:picMk id="40" creationId="{31F24B33-3851-DE49-B1A7-F1099CB4318D}"/>
          </ac:picMkLst>
        </pc:picChg>
        <pc:picChg chg="del">
          <ac:chgData name="Christopher Schulz" userId="c7a37fbc-fc18-47fa-bc4e-1f96df76f530" providerId="ADAL" clId="{5D2A2956-DDF1-DE44-AFC1-664ADE511947}" dt="2020-11-25T19:44:38.804" v="181" actId="478"/>
          <ac:picMkLst>
            <pc:docMk/>
            <pc:sldMk cId="3168066364" sldId="256"/>
            <ac:picMk id="41" creationId="{539D7972-83FE-9648-B634-CF939DF94774}"/>
          </ac:picMkLst>
        </pc:picChg>
        <pc:picChg chg="del">
          <ac:chgData name="Christopher Schulz" userId="c7a37fbc-fc18-47fa-bc4e-1f96df76f530" providerId="ADAL" clId="{5D2A2956-DDF1-DE44-AFC1-664ADE511947}" dt="2020-11-25T19:44:38.804" v="181" actId="478"/>
          <ac:picMkLst>
            <pc:docMk/>
            <pc:sldMk cId="3168066364" sldId="256"/>
            <ac:picMk id="42" creationId="{689AF7EF-133B-D54A-8557-0A28F2784079}"/>
          </ac:picMkLst>
        </pc:picChg>
        <pc:picChg chg="del">
          <ac:chgData name="Christopher Schulz" userId="c7a37fbc-fc18-47fa-bc4e-1f96df76f530" providerId="ADAL" clId="{5D2A2956-DDF1-DE44-AFC1-664ADE511947}" dt="2020-11-25T19:44:38.804" v="181" actId="478"/>
          <ac:picMkLst>
            <pc:docMk/>
            <pc:sldMk cId="3168066364" sldId="256"/>
            <ac:picMk id="43" creationId="{A64994D0-7857-C043-866B-527E5331AE56}"/>
          </ac:picMkLst>
        </pc:picChg>
        <pc:picChg chg="del">
          <ac:chgData name="Christopher Schulz" userId="c7a37fbc-fc18-47fa-bc4e-1f96df76f530" providerId="ADAL" clId="{5D2A2956-DDF1-DE44-AFC1-664ADE511947}" dt="2020-11-25T19:44:38.804" v="181" actId="478"/>
          <ac:picMkLst>
            <pc:docMk/>
            <pc:sldMk cId="3168066364" sldId="256"/>
            <ac:picMk id="44" creationId="{DE77AB0E-25ED-0E4C-8DED-D3FB1CE1711F}"/>
          </ac:picMkLst>
        </pc:picChg>
        <pc:picChg chg="del">
          <ac:chgData name="Christopher Schulz" userId="c7a37fbc-fc18-47fa-bc4e-1f96df76f530" providerId="ADAL" clId="{5D2A2956-DDF1-DE44-AFC1-664ADE511947}" dt="2020-11-25T19:44:38.804" v="181" actId="478"/>
          <ac:picMkLst>
            <pc:docMk/>
            <pc:sldMk cId="3168066364" sldId="256"/>
            <ac:picMk id="45" creationId="{B241B295-4E24-CB41-9D2E-5202478F46E3}"/>
          </ac:picMkLst>
        </pc:picChg>
        <pc:picChg chg="del">
          <ac:chgData name="Christopher Schulz" userId="c7a37fbc-fc18-47fa-bc4e-1f96df76f530" providerId="ADAL" clId="{5D2A2956-DDF1-DE44-AFC1-664ADE511947}" dt="2020-11-25T19:44:38.804" v="181" actId="478"/>
          <ac:picMkLst>
            <pc:docMk/>
            <pc:sldMk cId="3168066364" sldId="256"/>
            <ac:picMk id="46" creationId="{7EFA26A2-0E6F-154C-95F3-ED8FD7D2F556}"/>
          </ac:picMkLst>
        </pc:picChg>
        <pc:picChg chg="del">
          <ac:chgData name="Christopher Schulz" userId="c7a37fbc-fc18-47fa-bc4e-1f96df76f530" providerId="ADAL" clId="{5D2A2956-DDF1-DE44-AFC1-664ADE511947}" dt="2020-11-25T19:44:38.804" v="181" actId="478"/>
          <ac:picMkLst>
            <pc:docMk/>
            <pc:sldMk cId="3168066364" sldId="256"/>
            <ac:picMk id="47" creationId="{BBE08B28-879A-D044-92F4-A425976DE43B}"/>
          </ac:picMkLst>
        </pc:picChg>
        <pc:picChg chg="add mod">
          <ac:chgData name="Christopher Schulz" userId="c7a37fbc-fc18-47fa-bc4e-1f96df76f530" providerId="ADAL" clId="{5D2A2956-DDF1-DE44-AFC1-664ADE511947}" dt="2020-11-25T20:25:54.226" v="1775" actId="1035"/>
          <ac:picMkLst>
            <pc:docMk/>
            <pc:sldMk cId="3168066364" sldId="256"/>
            <ac:picMk id="56" creationId="{F2950237-3A3D-2B4F-9C88-40949DCECD29}"/>
          </ac:picMkLst>
        </pc:picChg>
      </pc:sldChg>
      <pc:sldChg chg="add del">
        <pc:chgData name="Christopher Schulz" userId="c7a37fbc-fc18-47fa-bc4e-1f96df76f530" providerId="ADAL" clId="{5D2A2956-DDF1-DE44-AFC1-664ADE511947}" dt="2020-11-25T19:45:11.544" v="190" actId="2696"/>
        <pc:sldMkLst>
          <pc:docMk/>
          <pc:sldMk cId="1728008435" sldId="258"/>
        </pc:sldMkLst>
      </pc:sldChg>
      <pc:sldChg chg="modSp add del">
        <pc:chgData name="Christopher Schulz" userId="c7a37fbc-fc18-47fa-bc4e-1f96df76f530" providerId="ADAL" clId="{5D2A2956-DDF1-DE44-AFC1-664ADE511947}" dt="2020-11-25T19:44:52.837" v="185"/>
        <pc:sldMkLst>
          <pc:docMk/>
          <pc:sldMk cId="2583547322" sldId="258"/>
        </pc:sldMkLst>
        <pc:graphicFrameChg chg="mod">
          <ac:chgData name="Christopher Schulz" userId="c7a37fbc-fc18-47fa-bc4e-1f96df76f530" providerId="ADAL" clId="{5D2A2956-DDF1-DE44-AFC1-664ADE511947}" dt="2020-11-25T19:44:51.116" v="184"/>
          <ac:graphicFrameMkLst>
            <pc:docMk/>
            <pc:sldMk cId="2583547322" sldId="258"/>
            <ac:graphicFrameMk id="5" creationId="{AEE18253-24AB-F24D-B8DB-FF0124917C44}"/>
          </ac:graphicFrameMkLst>
        </pc:graphicFrameChg>
      </pc:sldChg>
      <pc:sldChg chg="modSp mod">
        <pc:chgData name="Christopher Schulz" userId="c7a37fbc-fc18-47fa-bc4e-1f96df76f530" providerId="ADAL" clId="{5D2A2956-DDF1-DE44-AFC1-664ADE511947}" dt="2020-11-25T20:20:15.857" v="1696" actId="2"/>
        <pc:sldMkLst>
          <pc:docMk/>
          <pc:sldMk cId="1472519979" sldId="436"/>
        </pc:sldMkLst>
        <pc:spChg chg="mod">
          <ac:chgData name="Christopher Schulz" userId="c7a37fbc-fc18-47fa-bc4e-1f96df76f530" providerId="ADAL" clId="{5D2A2956-DDF1-DE44-AFC1-664ADE511947}" dt="2020-11-25T20:20:15.617" v="1694" actId="2"/>
          <ac:spMkLst>
            <pc:docMk/>
            <pc:sldMk cId="1472519979" sldId="436"/>
            <ac:spMk id="9" creationId="{CF9ADDBA-443B-204E-B32A-778FA29DB81E}"/>
          </ac:spMkLst>
        </pc:spChg>
        <pc:spChg chg="mod">
          <ac:chgData name="Christopher Schulz" userId="c7a37fbc-fc18-47fa-bc4e-1f96df76f530" providerId="ADAL" clId="{5D2A2956-DDF1-DE44-AFC1-664ADE511947}" dt="2020-11-25T20:20:15.857" v="1696" actId="2"/>
          <ac:spMkLst>
            <pc:docMk/>
            <pc:sldMk cId="1472519979" sldId="436"/>
            <ac:spMk id="10" creationId="{274B8FD3-DE57-F04F-8CE3-DD4FB0B74771}"/>
          </ac:spMkLst>
        </pc:spChg>
      </pc:sldChg>
      <pc:sldChg chg="addSp delSp modSp mod">
        <pc:chgData name="Christopher Schulz" userId="c7a37fbc-fc18-47fa-bc4e-1f96df76f530" providerId="ADAL" clId="{5D2A2956-DDF1-DE44-AFC1-664ADE511947}" dt="2020-11-25T20:12:23.254" v="1524" actId="1076"/>
        <pc:sldMkLst>
          <pc:docMk/>
          <pc:sldMk cId="3209056058" sldId="440"/>
        </pc:sldMkLst>
        <pc:spChg chg="mod">
          <ac:chgData name="Christopher Schulz" userId="c7a37fbc-fc18-47fa-bc4e-1f96df76f530" providerId="ADAL" clId="{5D2A2956-DDF1-DE44-AFC1-664ADE511947}" dt="2020-11-25T20:12:23.254" v="1524" actId="1076"/>
          <ac:spMkLst>
            <pc:docMk/>
            <pc:sldMk cId="3209056058" sldId="440"/>
            <ac:spMk id="12" creationId="{32EF9AB9-F3CC-6340-AFA5-FD80FF545825}"/>
          </ac:spMkLst>
        </pc:spChg>
        <pc:spChg chg="mod">
          <ac:chgData name="Christopher Schulz" userId="c7a37fbc-fc18-47fa-bc4e-1f96df76f530" providerId="ADAL" clId="{5D2A2956-DDF1-DE44-AFC1-664ADE511947}" dt="2020-11-25T19:39:10.981" v="77" actId="20577"/>
          <ac:spMkLst>
            <pc:docMk/>
            <pc:sldMk cId="3209056058" sldId="440"/>
            <ac:spMk id="16" creationId="{B6283CED-F12B-D640-B69C-31DCB8F74681}"/>
          </ac:spMkLst>
        </pc:spChg>
        <pc:picChg chg="add mod modCrop">
          <ac:chgData name="Christopher Schulz" userId="c7a37fbc-fc18-47fa-bc4e-1f96df76f530" providerId="ADAL" clId="{5D2A2956-DDF1-DE44-AFC1-664ADE511947}" dt="2020-11-25T20:12:13.219" v="1522" actId="1076"/>
          <ac:picMkLst>
            <pc:docMk/>
            <pc:sldMk cId="3209056058" sldId="440"/>
            <ac:picMk id="3" creationId="{2C11F806-B0FD-6442-90C1-E538223D395C}"/>
          </ac:picMkLst>
        </pc:picChg>
        <pc:picChg chg="del">
          <ac:chgData name="Christopher Schulz" userId="c7a37fbc-fc18-47fa-bc4e-1f96df76f530" providerId="ADAL" clId="{5D2A2956-DDF1-DE44-AFC1-664ADE511947}" dt="2020-11-25T19:40:17.630" v="154" actId="478"/>
          <ac:picMkLst>
            <pc:docMk/>
            <pc:sldMk cId="3209056058" sldId="440"/>
            <ac:picMk id="3074" creationId="{D91DCF0C-5B5F-124A-A6F0-0ACDBB7E1AA7}"/>
          </ac:picMkLst>
        </pc:picChg>
      </pc:sldChg>
      <pc:sldChg chg="del">
        <pc:chgData name="Christopher Schulz" userId="c7a37fbc-fc18-47fa-bc4e-1f96df76f530" providerId="ADAL" clId="{5D2A2956-DDF1-DE44-AFC1-664ADE511947}" dt="2020-11-25T20:09:23.561" v="1497" actId="2696"/>
        <pc:sldMkLst>
          <pc:docMk/>
          <pc:sldMk cId="262661586" sldId="441"/>
        </pc:sldMkLst>
      </pc:sldChg>
      <pc:sldChg chg="addSp delSp modSp new del mod">
        <pc:chgData name="Christopher Schulz" userId="c7a37fbc-fc18-47fa-bc4e-1f96df76f530" providerId="ADAL" clId="{5D2A2956-DDF1-DE44-AFC1-664ADE511947}" dt="2020-11-25T20:30:28.687" v="1776" actId="2696"/>
        <pc:sldMkLst>
          <pc:docMk/>
          <pc:sldMk cId="3069642092" sldId="441"/>
        </pc:sldMkLst>
        <pc:spChg chg="del">
          <ac:chgData name="Christopher Schulz" userId="c7a37fbc-fc18-47fa-bc4e-1f96df76f530" providerId="ADAL" clId="{5D2A2956-DDF1-DE44-AFC1-664ADE511947}" dt="2020-11-25T20:23:29.695" v="1733" actId="478"/>
          <ac:spMkLst>
            <pc:docMk/>
            <pc:sldMk cId="3069642092" sldId="441"/>
            <ac:spMk id="2" creationId="{A4957C22-076D-FD41-B421-5189B865FCD9}"/>
          </ac:spMkLst>
        </pc:spChg>
        <pc:spChg chg="del">
          <ac:chgData name="Christopher Schulz" userId="c7a37fbc-fc18-47fa-bc4e-1f96df76f530" providerId="ADAL" clId="{5D2A2956-DDF1-DE44-AFC1-664ADE511947}" dt="2020-11-25T20:23:29.695" v="1733" actId="478"/>
          <ac:spMkLst>
            <pc:docMk/>
            <pc:sldMk cId="3069642092" sldId="441"/>
            <ac:spMk id="3" creationId="{02CD4876-258D-1949-9803-A42A9315ABCB}"/>
          </ac:spMkLst>
        </pc:spChg>
        <pc:spChg chg="del">
          <ac:chgData name="Christopher Schulz" userId="c7a37fbc-fc18-47fa-bc4e-1f96df76f530" providerId="ADAL" clId="{5D2A2956-DDF1-DE44-AFC1-664ADE511947}" dt="2020-11-25T20:23:29.695" v="1733" actId="478"/>
          <ac:spMkLst>
            <pc:docMk/>
            <pc:sldMk cId="3069642092" sldId="441"/>
            <ac:spMk id="4" creationId="{001AA84C-AA58-2B4E-9CEA-489A673805F5}"/>
          </ac:spMkLst>
        </pc:spChg>
        <pc:spChg chg="add mod">
          <ac:chgData name="Christopher Schulz" userId="c7a37fbc-fc18-47fa-bc4e-1f96df76f530" providerId="ADAL" clId="{5D2A2956-DDF1-DE44-AFC1-664ADE511947}" dt="2020-11-25T20:24:14.158" v="1742" actId="1076"/>
          <ac:spMkLst>
            <pc:docMk/>
            <pc:sldMk cId="3069642092" sldId="441"/>
            <ac:spMk id="10" creationId="{363D3F8A-B800-D64D-AAFE-EE66C9022C35}"/>
          </ac:spMkLst>
        </pc:spChg>
        <pc:spChg chg="add mod">
          <ac:chgData name="Christopher Schulz" userId="c7a37fbc-fc18-47fa-bc4e-1f96df76f530" providerId="ADAL" clId="{5D2A2956-DDF1-DE44-AFC1-664ADE511947}" dt="2020-11-25T20:24:14.158" v="1742" actId="1076"/>
          <ac:spMkLst>
            <pc:docMk/>
            <pc:sldMk cId="3069642092" sldId="441"/>
            <ac:spMk id="11" creationId="{B90C203C-2D3C-3B47-8830-D5021C069C0F}"/>
          </ac:spMkLst>
        </pc:spChg>
        <pc:spChg chg="add mod">
          <ac:chgData name="Christopher Schulz" userId="c7a37fbc-fc18-47fa-bc4e-1f96df76f530" providerId="ADAL" clId="{5D2A2956-DDF1-DE44-AFC1-664ADE511947}" dt="2020-11-25T20:24:14.158" v="1742" actId="1076"/>
          <ac:spMkLst>
            <pc:docMk/>
            <pc:sldMk cId="3069642092" sldId="441"/>
            <ac:spMk id="12" creationId="{F6BD8304-30B2-4745-BA71-3B020F0136F7}"/>
          </ac:spMkLst>
        </pc:spChg>
        <pc:spChg chg="add mod">
          <ac:chgData name="Christopher Schulz" userId="c7a37fbc-fc18-47fa-bc4e-1f96df76f530" providerId="ADAL" clId="{5D2A2956-DDF1-DE44-AFC1-664ADE511947}" dt="2020-11-25T20:24:14.158" v="1742" actId="1076"/>
          <ac:spMkLst>
            <pc:docMk/>
            <pc:sldMk cId="3069642092" sldId="441"/>
            <ac:spMk id="13" creationId="{BAE2A85B-447B-1246-BCBF-0C55F30ADE96}"/>
          </ac:spMkLst>
        </pc:spChg>
        <pc:spChg chg="add mod">
          <ac:chgData name="Christopher Schulz" userId="c7a37fbc-fc18-47fa-bc4e-1f96df76f530" providerId="ADAL" clId="{5D2A2956-DDF1-DE44-AFC1-664ADE511947}" dt="2020-11-25T20:24:44.835" v="1767" actId="20577"/>
          <ac:spMkLst>
            <pc:docMk/>
            <pc:sldMk cId="3069642092" sldId="441"/>
            <ac:spMk id="18" creationId="{5968A915-8ED6-B245-AA61-3B151AE0B345}"/>
          </ac:spMkLst>
        </pc:spChg>
        <pc:graphicFrameChg chg="add mod">
          <ac:chgData name="Christopher Schulz" userId="c7a37fbc-fc18-47fa-bc4e-1f96df76f530" providerId="ADAL" clId="{5D2A2956-DDF1-DE44-AFC1-664ADE511947}" dt="2020-11-25T20:24:07.858" v="1741" actId="1076"/>
          <ac:graphicFrameMkLst>
            <pc:docMk/>
            <pc:sldMk cId="3069642092" sldId="441"/>
            <ac:graphicFrameMk id="5" creationId="{48D9B245-F5A9-FF47-8EA2-45D7DE417789}"/>
          </ac:graphicFrameMkLst>
        </pc:graphicFrameChg>
        <pc:picChg chg="add mod">
          <ac:chgData name="Christopher Schulz" userId="c7a37fbc-fc18-47fa-bc4e-1f96df76f530" providerId="ADAL" clId="{5D2A2956-DDF1-DE44-AFC1-664ADE511947}" dt="2020-11-25T20:24:07.858" v="1741" actId="1076"/>
          <ac:picMkLst>
            <pc:docMk/>
            <pc:sldMk cId="3069642092" sldId="441"/>
            <ac:picMk id="6" creationId="{84F474F8-91A9-0146-849C-A79258D26EBC}"/>
          </ac:picMkLst>
        </pc:picChg>
        <pc:picChg chg="add mod">
          <ac:chgData name="Christopher Schulz" userId="c7a37fbc-fc18-47fa-bc4e-1f96df76f530" providerId="ADAL" clId="{5D2A2956-DDF1-DE44-AFC1-664ADE511947}" dt="2020-11-25T20:24:07.858" v="1741" actId="1076"/>
          <ac:picMkLst>
            <pc:docMk/>
            <pc:sldMk cId="3069642092" sldId="441"/>
            <ac:picMk id="7" creationId="{5DF76E8E-AA8B-5142-B49C-85106EC21586}"/>
          </ac:picMkLst>
        </pc:picChg>
        <pc:picChg chg="add mod">
          <ac:chgData name="Christopher Schulz" userId="c7a37fbc-fc18-47fa-bc4e-1f96df76f530" providerId="ADAL" clId="{5D2A2956-DDF1-DE44-AFC1-664ADE511947}" dt="2020-11-25T20:24:07.858" v="1741" actId="1076"/>
          <ac:picMkLst>
            <pc:docMk/>
            <pc:sldMk cId="3069642092" sldId="441"/>
            <ac:picMk id="8" creationId="{162C43FD-4216-6145-8695-B2D57C34A330}"/>
          </ac:picMkLst>
        </pc:picChg>
        <pc:picChg chg="add mod">
          <ac:chgData name="Christopher Schulz" userId="c7a37fbc-fc18-47fa-bc4e-1f96df76f530" providerId="ADAL" clId="{5D2A2956-DDF1-DE44-AFC1-664ADE511947}" dt="2020-11-25T20:24:07.858" v="1741" actId="1076"/>
          <ac:picMkLst>
            <pc:docMk/>
            <pc:sldMk cId="3069642092" sldId="441"/>
            <ac:picMk id="9" creationId="{2788A1E7-EA0F-454E-9E6C-3BFC2E4663ED}"/>
          </ac:picMkLst>
        </pc:picChg>
        <pc:picChg chg="add mod">
          <ac:chgData name="Christopher Schulz" userId="c7a37fbc-fc18-47fa-bc4e-1f96df76f530" providerId="ADAL" clId="{5D2A2956-DDF1-DE44-AFC1-664ADE511947}" dt="2020-11-25T20:24:14.158" v="1742" actId="1076"/>
          <ac:picMkLst>
            <pc:docMk/>
            <pc:sldMk cId="3069642092" sldId="441"/>
            <ac:picMk id="14" creationId="{6D7531AB-BBC7-AE4D-B6CE-94F9B966706E}"/>
          </ac:picMkLst>
        </pc:picChg>
        <pc:picChg chg="add mod">
          <ac:chgData name="Christopher Schulz" userId="c7a37fbc-fc18-47fa-bc4e-1f96df76f530" providerId="ADAL" clId="{5D2A2956-DDF1-DE44-AFC1-664ADE511947}" dt="2020-11-25T20:24:14.158" v="1742" actId="1076"/>
          <ac:picMkLst>
            <pc:docMk/>
            <pc:sldMk cId="3069642092" sldId="441"/>
            <ac:picMk id="15" creationId="{43FC84F8-493F-634E-88E9-5D5124DEDC0D}"/>
          </ac:picMkLst>
        </pc:picChg>
        <pc:picChg chg="add mod">
          <ac:chgData name="Christopher Schulz" userId="c7a37fbc-fc18-47fa-bc4e-1f96df76f530" providerId="ADAL" clId="{5D2A2956-DDF1-DE44-AFC1-664ADE511947}" dt="2020-11-25T20:24:14.158" v="1742" actId="1076"/>
          <ac:picMkLst>
            <pc:docMk/>
            <pc:sldMk cId="3069642092" sldId="441"/>
            <ac:picMk id="16" creationId="{DDC51B1F-827E-7D49-9C4F-C025A64BB725}"/>
          </ac:picMkLst>
        </pc:picChg>
        <pc:picChg chg="add mod">
          <ac:chgData name="Christopher Schulz" userId="c7a37fbc-fc18-47fa-bc4e-1f96df76f530" providerId="ADAL" clId="{5D2A2956-DDF1-DE44-AFC1-664ADE511947}" dt="2020-11-25T20:24:14.158" v="1742" actId="1076"/>
          <ac:picMkLst>
            <pc:docMk/>
            <pc:sldMk cId="3069642092" sldId="441"/>
            <ac:picMk id="17" creationId="{98193780-FD6A-934E-8E86-B692A0D532D0}"/>
          </ac:picMkLst>
        </pc:picChg>
      </pc:sldChg>
      <pc:sldMasterChg chg="modSp mod delSldLayout">
        <pc:chgData name="Christopher Schulz" userId="c7a37fbc-fc18-47fa-bc4e-1f96df76f530" providerId="ADAL" clId="{5D2A2956-DDF1-DE44-AFC1-664ADE511947}" dt="2020-11-25T20:20:16.347" v="1697" actId="2"/>
        <pc:sldMasterMkLst>
          <pc:docMk/>
          <pc:sldMasterMk cId="0" sldId="2147483648"/>
        </pc:sldMasterMkLst>
        <pc:spChg chg="mod">
          <ac:chgData name="Christopher Schulz" userId="c7a37fbc-fc18-47fa-bc4e-1f96df76f530" providerId="ADAL" clId="{5D2A2956-DDF1-DE44-AFC1-664ADE511947}" dt="2020-11-25T20:20:16.347" v="1697" actId="2"/>
          <ac:spMkLst>
            <pc:docMk/>
            <pc:sldMasterMk cId="0" sldId="2147483648"/>
            <ac:spMk id="40" creationId="{00000000-0000-0000-0000-000000000000}"/>
          </ac:spMkLst>
        </pc:spChg>
        <pc:sldLayoutChg chg="del">
          <pc:chgData name="Christopher Schulz" userId="c7a37fbc-fc18-47fa-bc4e-1f96df76f530" providerId="ADAL" clId="{5D2A2956-DDF1-DE44-AFC1-664ADE511947}" dt="2020-11-25T19:45:22.832" v="191" actId="2696"/>
          <pc:sldLayoutMkLst>
            <pc:docMk/>
            <pc:sldMasterMk cId="0" sldId="2147483648"/>
            <pc:sldLayoutMk cId="921124016" sldId="2147483668"/>
          </pc:sldLayoutMkLst>
        </pc:sldLayoutChg>
      </pc:sldMasterChg>
      <pc:sldMasterChg chg="del delSldLayout">
        <pc:chgData name="Christopher Schulz" userId="c7a37fbc-fc18-47fa-bc4e-1f96df76f530" providerId="ADAL" clId="{5D2A2956-DDF1-DE44-AFC1-664ADE511947}" dt="2020-11-25T19:45:11.544" v="190" actId="2696"/>
        <pc:sldMasterMkLst>
          <pc:docMk/>
          <pc:sldMasterMk cId="189687478" sldId="2147483670"/>
        </pc:sldMasterMkLst>
        <pc:sldLayoutChg chg="del">
          <pc:chgData name="Christopher Schulz" userId="c7a37fbc-fc18-47fa-bc4e-1f96df76f530" providerId="ADAL" clId="{5D2A2956-DDF1-DE44-AFC1-664ADE511947}" dt="2020-11-25T19:45:11.544" v="190" actId="2696"/>
          <pc:sldLayoutMkLst>
            <pc:docMk/>
            <pc:sldMasterMk cId="189687478" sldId="2147483670"/>
            <pc:sldLayoutMk cId="2653437144" sldId="2147483671"/>
          </pc:sldLayoutMkLst>
        </pc:sldLayoutChg>
      </pc:sldMasterChg>
    </pc:docChg>
  </pc:docChgLst>
  <pc:docChgLst>
    <pc:chgData name="Christopher Schulz" userId="c7a37fbc-fc18-47fa-bc4e-1f96df76f530" providerId="ADAL" clId="{D3475D91-1DB2-6340-86DE-860237F9C8A3}"/>
    <pc:docChg chg="undo redo custSel addSld delSld modSld sldOrd">
      <pc:chgData name="Christopher Schulz" userId="c7a37fbc-fc18-47fa-bc4e-1f96df76f530" providerId="ADAL" clId="{D3475D91-1DB2-6340-86DE-860237F9C8A3}" dt="2019-10-19T18:59:17.044" v="6022" actId="20577"/>
      <pc:docMkLst>
        <pc:docMk/>
      </pc:docMkLst>
      <pc:sldChg chg="addSp delSp modSp">
        <pc:chgData name="Christopher Schulz" userId="c7a37fbc-fc18-47fa-bc4e-1f96df76f530" providerId="ADAL" clId="{D3475D91-1DB2-6340-86DE-860237F9C8A3}" dt="2019-10-19T18:58:15.986" v="6014" actId="20577"/>
        <pc:sldMkLst>
          <pc:docMk/>
          <pc:sldMk cId="3168066364" sldId="256"/>
        </pc:sldMkLst>
        <pc:spChg chg="mod">
          <ac:chgData name="Christopher Schulz" userId="c7a37fbc-fc18-47fa-bc4e-1f96df76f530" providerId="ADAL" clId="{D3475D91-1DB2-6340-86DE-860237F9C8A3}" dt="2019-10-17T05:12:37.879" v="36" actId="20577"/>
          <ac:spMkLst>
            <pc:docMk/>
            <pc:sldMk cId="3168066364" sldId="256"/>
            <ac:spMk id="2" creationId="{D68C5A50-1913-4507-988E-B3319E45906C}"/>
          </ac:spMkLst>
        </pc:spChg>
        <pc:spChg chg="mod">
          <ac:chgData name="Christopher Schulz" userId="c7a37fbc-fc18-47fa-bc4e-1f96df76f530" providerId="ADAL" clId="{D3475D91-1DB2-6340-86DE-860237F9C8A3}" dt="2019-10-17T05:12:53.831" v="72" actId="20577"/>
          <ac:spMkLst>
            <pc:docMk/>
            <pc:sldMk cId="3168066364" sldId="256"/>
            <ac:spMk id="3" creationId="{5F0B0340-28DE-4C04-BA5A-1EB9C2F0782D}"/>
          </ac:spMkLst>
        </pc:spChg>
        <pc:spChg chg="del">
          <ac:chgData name="Christopher Schulz" userId="c7a37fbc-fc18-47fa-bc4e-1f96df76f530" providerId="ADAL" clId="{D3475D91-1DB2-6340-86DE-860237F9C8A3}" dt="2019-10-17T05:11:07.870" v="0" actId="478"/>
          <ac:spMkLst>
            <pc:docMk/>
            <pc:sldMk cId="3168066364" sldId="256"/>
            <ac:spMk id="4" creationId="{0B114C2E-D5BA-49C4-B31F-CDD48FCACD43}"/>
          </ac:spMkLst>
        </pc:spChg>
        <pc:graphicFrameChg chg="add del">
          <ac:chgData name="Christopher Schulz" userId="c7a37fbc-fc18-47fa-bc4e-1f96df76f530" providerId="ADAL" clId="{D3475D91-1DB2-6340-86DE-860237F9C8A3}" dt="2019-10-17T05:11:09.945" v="2"/>
          <ac:graphicFrameMkLst>
            <pc:docMk/>
            <pc:sldMk cId="3168066364" sldId="256"/>
            <ac:graphicFrameMk id="5" creationId="{C20D92CC-0C7A-6749-A35A-828E0D771E26}"/>
          </ac:graphicFrameMkLst>
        </pc:graphicFrameChg>
        <pc:graphicFrameChg chg="add mod modGraphic">
          <ac:chgData name="Christopher Schulz" userId="c7a37fbc-fc18-47fa-bc4e-1f96df76f530" providerId="ADAL" clId="{D3475D91-1DB2-6340-86DE-860237F9C8A3}" dt="2019-10-19T18:58:15.986" v="6014" actId="20577"/>
          <ac:graphicFrameMkLst>
            <pc:docMk/>
            <pc:sldMk cId="3168066364" sldId="256"/>
            <ac:graphicFrameMk id="6" creationId="{78112048-7899-1C44-B8EC-A001E6C13E15}"/>
          </ac:graphicFrameMkLst>
        </pc:graphicFrameChg>
      </pc:sldChg>
      <pc:sldChg chg="addSp delSp modSp add">
        <pc:chgData name="Christopher Schulz" userId="c7a37fbc-fc18-47fa-bc4e-1f96df76f530" providerId="ADAL" clId="{D3475D91-1DB2-6340-86DE-860237F9C8A3}" dt="2019-10-19T18:47:03.696" v="5734" actId="13926"/>
        <pc:sldMkLst>
          <pc:docMk/>
          <pc:sldMk cId="1432570934" sldId="428"/>
        </pc:sldMkLst>
        <pc:graphicFrameChg chg="add mod modGraphic">
          <ac:chgData name="Christopher Schulz" userId="c7a37fbc-fc18-47fa-bc4e-1f96df76f530" providerId="ADAL" clId="{D3475D91-1DB2-6340-86DE-860237F9C8A3}" dt="2019-10-19T18:47:03.696" v="5734" actId="13926"/>
          <ac:graphicFrameMkLst>
            <pc:docMk/>
            <pc:sldMk cId="1432570934" sldId="428"/>
            <ac:graphicFrameMk id="5" creationId="{53782371-3C58-B941-A0BE-E63C5F98656D}"/>
          </ac:graphicFrameMkLst>
        </pc:graphicFrameChg>
        <pc:graphicFrameChg chg="del">
          <ac:chgData name="Christopher Schulz" userId="c7a37fbc-fc18-47fa-bc4e-1f96df76f530" providerId="ADAL" clId="{D3475D91-1DB2-6340-86DE-860237F9C8A3}" dt="2019-10-17T05:13:46.729" v="81" actId="478"/>
          <ac:graphicFrameMkLst>
            <pc:docMk/>
            <pc:sldMk cId="1432570934" sldId="428"/>
            <ac:graphicFrameMk id="6" creationId="{78112048-7899-1C44-B8EC-A001E6C13E15}"/>
          </ac:graphicFrameMkLst>
        </pc:graphicFrameChg>
      </pc:sldChg>
      <pc:sldChg chg="addSp delSp modSp add ord">
        <pc:chgData name="Christopher Schulz" userId="c7a37fbc-fc18-47fa-bc4e-1f96df76f530" providerId="ADAL" clId="{D3475D91-1DB2-6340-86DE-860237F9C8A3}" dt="2019-10-19T18:58:58.879" v="6018" actId="20577"/>
        <pc:sldMkLst>
          <pc:docMk/>
          <pc:sldMk cId="269611952" sldId="430"/>
        </pc:sldMkLst>
        <pc:graphicFrameChg chg="add del mod modGraphic">
          <ac:chgData name="Christopher Schulz" userId="c7a37fbc-fc18-47fa-bc4e-1f96df76f530" providerId="ADAL" clId="{D3475D91-1DB2-6340-86DE-860237F9C8A3}" dt="2019-10-19T18:54:03.632" v="5919" actId="478"/>
          <ac:graphicFrameMkLst>
            <pc:docMk/>
            <pc:sldMk cId="269611952" sldId="430"/>
            <ac:graphicFrameMk id="4" creationId="{3BEA057F-2C88-7048-9508-81D1FE8492D2}"/>
          </ac:graphicFrameMkLst>
        </pc:graphicFrameChg>
        <pc:graphicFrameChg chg="add mod modGraphic">
          <ac:chgData name="Christopher Schulz" userId="c7a37fbc-fc18-47fa-bc4e-1f96df76f530" providerId="ADAL" clId="{D3475D91-1DB2-6340-86DE-860237F9C8A3}" dt="2019-10-19T18:58:58.879" v="6018" actId="20577"/>
          <ac:graphicFrameMkLst>
            <pc:docMk/>
            <pc:sldMk cId="269611952" sldId="430"/>
            <ac:graphicFrameMk id="5" creationId="{D4A21EAF-1079-9045-B1A4-CA2DA7847228}"/>
          </ac:graphicFrameMkLst>
        </pc:graphicFrameChg>
        <pc:graphicFrameChg chg="add del modGraphic">
          <ac:chgData name="Christopher Schulz" userId="c7a37fbc-fc18-47fa-bc4e-1f96df76f530" providerId="ADAL" clId="{D3475D91-1DB2-6340-86DE-860237F9C8A3}" dt="2019-10-17T05:41:05.658" v="1315" actId="478"/>
          <ac:graphicFrameMkLst>
            <pc:docMk/>
            <pc:sldMk cId="269611952" sldId="430"/>
            <ac:graphicFrameMk id="5" creationId="{F38D475A-E751-2A4B-9480-839984D1C1E6}"/>
          </ac:graphicFrameMkLst>
        </pc:graphicFrameChg>
        <pc:graphicFrameChg chg="add del mod modGraphic">
          <ac:chgData name="Christopher Schulz" userId="c7a37fbc-fc18-47fa-bc4e-1f96df76f530" providerId="ADAL" clId="{D3475D91-1DB2-6340-86DE-860237F9C8A3}" dt="2019-10-17T05:45:00.271" v="1544" actId="478"/>
          <ac:graphicFrameMkLst>
            <pc:docMk/>
            <pc:sldMk cId="269611952" sldId="430"/>
            <ac:graphicFrameMk id="6" creationId="{157853EB-DE62-6647-88B4-6E5969CB59AC}"/>
          </ac:graphicFrameMkLst>
        </pc:graphicFrameChg>
      </pc:sldChg>
      <pc:sldChg chg="addSp delSp modSp add ord">
        <pc:chgData name="Christopher Schulz" userId="c7a37fbc-fc18-47fa-bc4e-1f96df76f530" providerId="ADAL" clId="{D3475D91-1DB2-6340-86DE-860237F9C8A3}" dt="2019-10-19T18:55:12.857" v="6002" actId="20577"/>
        <pc:sldMkLst>
          <pc:docMk/>
          <pc:sldMk cId="4149209076" sldId="431"/>
        </pc:sldMkLst>
        <pc:graphicFrameChg chg="add mod modGraphic">
          <ac:chgData name="Christopher Schulz" userId="c7a37fbc-fc18-47fa-bc4e-1f96df76f530" providerId="ADAL" clId="{D3475D91-1DB2-6340-86DE-860237F9C8A3}" dt="2019-10-19T18:55:12.857" v="6002" actId="20577"/>
          <ac:graphicFrameMkLst>
            <pc:docMk/>
            <pc:sldMk cId="4149209076" sldId="431"/>
            <ac:graphicFrameMk id="4" creationId="{9E31AC4F-82BF-F54A-ABA7-51F70B62D1E1}"/>
          </ac:graphicFrameMkLst>
        </pc:graphicFrameChg>
        <pc:graphicFrameChg chg="add del mod modGraphic">
          <ac:chgData name="Christopher Schulz" userId="c7a37fbc-fc18-47fa-bc4e-1f96df76f530" providerId="ADAL" clId="{D3475D91-1DB2-6340-86DE-860237F9C8A3}" dt="2019-10-19T18:44:47.577" v="5669" actId="478"/>
          <ac:graphicFrameMkLst>
            <pc:docMk/>
            <pc:sldMk cId="4149209076" sldId="431"/>
            <ac:graphicFrameMk id="5" creationId="{2F859671-F7F7-8E4A-A747-73DD7D05C4A0}"/>
          </ac:graphicFrameMkLst>
        </pc:graphicFrameChg>
        <pc:graphicFrameChg chg="add del mod">
          <ac:chgData name="Christopher Schulz" userId="c7a37fbc-fc18-47fa-bc4e-1f96df76f530" providerId="ADAL" clId="{D3475D91-1DB2-6340-86DE-860237F9C8A3}" dt="2019-10-19T18:53:10.176" v="5901"/>
          <ac:graphicFrameMkLst>
            <pc:docMk/>
            <pc:sldMk cId="4149209076" sldId="431"/>
            <ac:graphicFrameMk id="6" creationId="{6E8DD67C-C96B-AD45-A332-9AA0927499A4}"/>
          </ac:graphicFrameMkLst>
        </pc:graphicFrameChg>
        <pc:graphicFrameChg chg="add mod">
          <ac:chgData name="Christopher Schulz" userId="c7a37fbc-fc18-47fa-bc4e-1f96df76f530" providerId="ADAL" clId="{D3475D91-1DB2-6340-86DE-860237F9C8A3}" dt="2019-10-19T18:53:53.335" v="5918" actId="1035"/>
          <ac:graphicFrameMkLst>
            <pc:docMk/>
            <pc:sldMk cId="4149209076" sldId="431"/>
            <ac:graphicFrameMk id="7" creationId="{C9872F59-0A6E-6449-94F7-0CF6C97B4C81}"/>
          </ac:graphicFrameMkLst>
        </pc:graphicFrameChg>
      </pc:sldChg>
      <pc:sldChg chg="addSp delSp modSp add del ord">
        <pc:chgData name="Christopher Schulz" userId="c7a37fbc-fc18-47fa-bc4e-1f96df76f530" providerId="ADAL" clId="{D3475D91-1DB2-6340-86DE-860237F9C8A3}" dt="2019-10-19T18:45:26.420" v="5675" actId="2696"/>
        <pc:sldMkLst>
          <pc:docMk/>
          <pc:sldMk cId="3886120189" sldId="432"/>
        </pc:sldMkLst>
        <pc:graphicFrameChg chg="add del mod modGraphic">
          <ac:chgData name="Christopher Schulz" userId="c7a37fbc-fc18-47fa-bc4e-1f96df76f530" providerId="ADAL" clId="{D3475D91-1DB2-6340-86DE-860237F9C8A3}" dt="2019-10-19T18:44:09.802" v="5665" actId="478"/>
          <ac:graphicFrameMkLst>
            <pc:docMk/>
            <pc:sldMk cId="3886120189" sldId="432"/>
            <ac:graphicFrameMk id="4" creationId="{412162A5-92A0-5248-9285-9C84689E745E}"/>
          </ac:graphicFrameMkLst>
        </pc:graphicFrameChg>
        <pc:graphicFrameChg chg="add mod">
          <ac:chgData name="Christopher Schulz" userId="c7a37fbc-fc18-47fa-bc4e-1f96df76f530" providerId="ADAL" clId="{D3475D91-1DB2-6340-86DE-860237F9C8A3}" dt="2019-10-19T18:44:22.248" v="5668" actId="1076"/>
          <ac:graphicFrameMkLst>
            <pc:docMk/>
            <pc:sldMk cId="3886120189" sldId="432"/>
            <ac:graphicFrameMk id="5" creationId="{D4D763AA-AA5F-F54D-B60D-F3FC50ECCA2D}"/>
          </ac:graphicFrameMkLst>
        </pc:graphicFrameChg>
      </pc:sldChg>
      <pc:sldChg chg="addSp modSp add ord">
        <pc:chgData name="Christopher Schulz" userId="c7a37fbc-fc18-47fa-bc4e-1f96df76f530" providerId="ADAL" clId="{D3475D91-1DB2-6340-86DE-860237F9C8A3}" dt="2019-10-19T18:59:17.044" v="6022" actId="20577"/>
        <pc:sldMkLst>
          <pc:docMk/>
          <pc:sldMk cId="2682155137" sldId="433"/>
        </pc:sldMkLst>
        <pc:graphicFrameChg chg="add mod modGraphic">
          <ac:chgData name="Christopher Schulz" userId="c7a37fbc-fc18-47fa-bc4e-1f96df76f530" providerId="ADAL" clId="{D3475D91-1DB2-6340-86DE-860237F9C8A3}" dt="2019-10-19T18:59:17.044" v="6022" actId="20577"/>
          <ac:graphicFrameMkLst>
            <pc:docMk/>
            <pc:sldMk cId="2682155137" sldId="433"/>
            <ac:graphicFrameMk id="4" creationId="{C40E432C-AA28-D749-BB85-FFA7057CDF3E}"/>
          </ac:graphicFrameMkLst>
        </pc:graphicFrameChg>
        <pc:graphicFrameChg chg="add modGraphic">
          <ac:chgData name="Christopher Schulz" userId="c7a37fbc-fc18-47fa-bc4e-1f96df76f530" providerId="ADAL" clId="{D3475D91-1DB2-6340-86DE-860237F9C8A3}" dt="2019-10-17T06:14:27.751" v="3015" actId="13926"/>
          <ac:graphicFrameMkLst>
            <pc:docMk/>
            <pc:sldMk cId="2682155137" sldId="433"/>
            <ac:graphicFrameMk id="5" creationId="{10E0FAC1-310C-0143-AD00-556F6A0E79CB}"/>
          </ac:graphicFrameMkLst>
        </pc:graphicFrameChg>
      </pc:sldChg>
      <pc:sldChg chg="modSp add">
        <pc:chgData name="Christopher Schulz" userId="c7a37fbc-fc18-47fa-bc4e-1f96df76f530" providerId="ADAL" clId="{D3475D91-1DB2-6340-86DE-860237F9C8A3}" dt="2019-10-17T05:18:33.849" v="228" actId="20577"/>
        <pc:sldMkLst>
          <pc:docMk/>
          <pc:sldMk cId="3859421926" sldId="434"/>
        </pc:sldMkLst>
        <pc:spChg chg="mod">
          <ac:chgData name="Christopher Schulz" userId="c7a37fbc-fc18-47fa-bc4e-1f96df76f530" providerId="ADAL" clId="{D3475D91-1DB2-6340-86DE-860237F9C8A3}" dt="2019-10-17T05:18:06.124" v="152" actId="20577"/>
          <ac:spMkLst>
            <pc:docMk/>
            <pc:sldMk cId="3859421926" sldId="434"/>
            <ac:spMk id="2" creationId="{8C1B6A6A-451E-DD48-AB87-7C9009A7BAE8}"/>
          </ac:spMkLst>
        </pc:spChg>
        <pc:spChg chg="mod">
          <ac:chgData name="Christopher Schulz" userId="c7a37fbc-fc18-47fa-bc4e-1f96df76f530" providerId="ADAL" clId="{D3475D91-1DB2-6340-86DE-860237F9C8A3}" dt="2019-10-17T05:18:21.918" v="190" actId="20577"/>
          <ac:spMkLst>
            <pc:docMk/>
            <pc:sldMk cId="3859421926" sldId="434"/>
            <ac:spMk id="3" creationId="{DCCC5E82-FB56-CD41-AE7F-650A9A9C8DAC}"/>
          </ac:spMkLst>
        </pc:spChg>
        <pc:spChg chg="mod">
          <ac:chgData name="Christopher Schulz" userId="c7a37fbc-fc18-47fa-bc4e-1f96df76f530" providerId="ADAL" clId="{D3475D91-1DB2-6340-86DE-860237F9C8A3}" dt="2019-10-17T05:18:33.849" v="228" actId="20577"/>
          <ac:spMkLst>
            <pc:docMk/>
            <pc:sldMk cId="3859421926" sldId="434"/>
            <ac:spMk id="4" creationId="{64B54C9F-5CBC-1947-9E78-996503F54723}"/>
          </ac:spMkLst>
        </pc:spChg>
      </pc:sldChg>
      <pc:sldChg chg="modSp add del">
        <pc:chgData name="Christopher Schulz" userId="c7a37fbc-fc18-47fa-bc4e-1f96df76f530" providerId="ADAL" clId="{D3475D91-1DB2-6340-86DE-860237F9C8A3}" dt="2019-10-19T18:45:01.998" v="5670" actId="2696"/>
        <pc:sldMkLst>
          <pc:docMk/>
          <pc:sldMk cId="2726336956" sldId="435"/>
        </pc:sldMkLst>
        <pc:spChg chg="mod">
          <ac:chgData name="Christopher Schulz" userId="c7a37fbc-fc18-47fa-bc4e-1f96df76f530" providerId="ADAL" clId="{D3475D91-1DB2-6340-86DE-860237F9C8A3}" dt="2019-10-17T06:02:38.275" v="2319" actId="20577"/>
          <ac:spMkLst>
            <pc:docMk/>
            <pc:sldMk cId="2726336956" sldId="435"/>
            <ac:spMk id="2" creationId="{DDF4D348-66C2-B949-8982-4013212F48D4}"/>
          </ac:spMkLst>
        </pc:spChg>
        <pc:spChg chg="mod">
          <ac:chgData name="Christopher Schulz" userId="c7a37fbc-fc18-47fa-bc4e-1f96df76f530" providerId="ADAL" clId="{D3475D91-1DB2-6340-86DE-860237F9C8A3}" dt="2019-10-17T06:02:32.615" v="2298" actId="27636"/>
          <ac:spMkLst>
            <pc:docMk/>
            <pc:sldMk cId="2726336956" sldId="435"/>
            <ac:spMk id="3" creationId="{0A279E3D-2167-9D4D-978E-634486823993}"/>
          </ac:spMkLst>
        </pc:spChg>
        <pc:spChg chg="mod">
          <ac:chgData name="Christopher Schulz" userId="c7a37fbc-fc18-47fa-bc4e-1f96df76f530" providerId="ADAL" clId="{D3475D91-1DB2-6340-86DE-860237F9C8A3}" dt="2019-10-17T06:02:43.456" v="2347" actId="20577"/>
          <ac:spMkLst>
            <pc:docMk/>
            <pc:sldMk cId="2726336956" sldId="435"/>
            <ac:spMk id="4" creationId="{16D016F1-0A97-1740-B852-C2DAC1C628CC}"/>
          </ac:spMkLst>
        </pc:spChg>
      </pc:sldChg>
      <pc:sldChg chg="addSp delSp modSp add ord">
        <pc:chgData name="Christopher Schulz" userId="c7a37fbc-fc18-47fa-bc4e-1f96df76f530" providerId="ADAL" clId="{D3475D91-1DB2-6340-86DE-860237F9C8A3}" dt="2019-10-17T06:30:59.248" v="3842"/>
        <pc:sldMkLst>
          <pc:docMk/>
          <pc:sldMk cId="1472519979" sldId="436"/>
        </pc:sldMkLst>
        <pc:spChg chg="mod">
          <ac:chgData name="Christopher Schulz" userId="c7a37fbc-fc18-47fa-bc4e-1f96df76f530" providerId="ADAL" clId="{D3475D91-1DB2-6340-86DE-860237F9C8A3}" dt="2019-10-17T06:26:16.809" v="3596" actId="20577"/>
          <ac:spMkLst>
            <pc:docMk/>
            <pc:sldMk cId="1472519979" sldId="436"/>
            <ac:spMk id="2" creationId="{6D202977-80CB-8D49-9114-5E34A0AD02D3}"/>
          </ac:spMkLst>
        </pc:spChg>
        <pc:spChg chg="mod">
          <ac:chgData name="Christopher Schulz" userId="c7a37fbc-fc18-47fa-bc4e-1f96df76f530" providerId="ADAL" clId="{D3475D91-1DB2-6340-86DE-860237F9C8A3}" dt="2019-10-17T06:26:27.041" v="3648" actId="20577"/>
          <ac:spMkLst>
            <pc:docMk/>
            <pc:sldMk cId="1472519979" sldId="436"/>
            <ac:spMk id="3" creationId="{AA7F89C0-AD47-2F41-ADB5-148CE4D47C23}"/>
          </ac:spMkLst>
        </pc:spChg>
        <pc:spChg chg="del">
          <ac:chgData name="Christopher Schulz" userId="c7a37fbc-fc18-47fa-bc4e-1f96df76f530" providerId="ADAL" clId="{D3475D91-1DB2-6340-86DE-860237F9C8A3}" dt="2019-10-17T06:26:43.188" v="3649" actId="478"/>
          <ac:spMkLst>
            <pc:docMk/>
            <pc:sldMk cId="1472519979" sldId="436"/>
            <ac:spMk id="4" creationId="{BF2D8D54-868C-544C-8CC8-41327F85EDAC}"/>
          </ac:spMkLst>
        </pc:spChg>
        <pc:spChg chg="add del">
          <ac:chgData name="Christopher Schulz" userId="c7a37fbc-fc18-47fa-bc4e-1f96df76f530" providerId="ADAL" clId="{D3475D91-1DB2-6340-86DE-860237F9C8A3}" dt="2019-10-17T06:26:48.149" v="3651"/>
          <ac:spMkLst>
            <pc:docMk/>
            <pc:sldMk cId="1472519979" sldId="436"/>
            <ac:spMk id="6" creationId="{67660D5F-EA1F-5342-AB33-AFB24B9BBCEE}"/>
          </ac:spMkLst>
        </pc:spChg>
        <pc:spChg chg="add del">
          <ac:chgData name="Christopher Schulz" userId="c7a37fbc-fc18-47fa-bc4e-1f96df76f530" providerId="ADAL" clId="{D3475D91-1DB2-6340-86DE-860237F9C8A3}" dt="2019-10-17T06:26:48.149" v="3651"/>
          <ac:spMkLst>
            <pc:docMk/>
            <pc:sldMk cId="1472519979" sldId="436"/>
            <ac:spMk id="7" creationId="{1D5F4CEF-F2E5-A342-B210-2138015BD24F}"/>
          </ac:spMkLst>
        </pc:spChg>
        <pc:spChg chg="add mod">
          <ac:chgData name="Christopher Schulz" userId="c7a37fbc-fc18-47fa-bc4e-1f96df76f530" providerId="ADAL" clId="{D3475D91-1DB2-6340-86DE-860237F9C8A3}" dt="2019-10-17T06:30:43.641" v="3840" actId="207"/>
          <ac:spMkLst>
            <pc:docMk/>
            <pc:sldMk cId="1472519979" sldId="436"/>
            <ac:spMk id="9" creationId="{CF9ADDBA-443B-204E-B32A-778FA29DB81E}"/>
          </ac:spMkLst>
        </pc:spChg>
        <pc:spChg chg="add mod">
          <ac:chgData name="Christopher Schulz" userId="c7a37fbc-fc18-47fa-bc4e-1f96df76f530" providerId="ADAL" clId="{D3475D91-1DB2-6340-86DE-860237F9C8A3}" dt="2019-10-17T06:30:49.878" v="3841" actId="14100"/>
          <ac:spMkLst>
            <pc:docMk/>
            <pc:sldMk cId="1472519979" sldId="436"/>
            <ac:spMk id="10" creationId="{274B8FD3-DE57-F04F-8CE3-DD4FB0B74771}"/>
          </ac:spMkLst>
        </pc:spChg>
        <pc:picChg chg="add del">
          <ac:chgData name="Christopher Schulz" userId="c7a37fbc-fc18-47fa-bc4e-1f96df76f530" providerId="ADAL" clId="{D3475D91-1DB2-6340-86DE-860237F9C8A3}" dt="2019-10-17T06:26:48.149" v="3651"/>
          <ac:picMkLst>
            <pc:docMk/>
            <pc:sldMk cId="1472519979" sldId="436"/>
            <ac:picMk id="5" creationId="{664DBF75-1416-DF41-BDB4-88F55DE36E17}"/>
          </ac:picMkLst>
        </pc:picChg>
        <pc:picChg chg="add">
          <ac:chgData name="Christopher Schulz" userId="c7a37fbc-fc18-47fa-bc4e-1f96df76f530" providerId="ADAL" clId="{D3475D91-1DB2-6340-86DE-860237F9C8A3}" dt="2019-10-17T06:26:58.154" v="3654"/>
          <ac:picMkLst>
            <pc:docMk/>
            <pc:sldMk cId="1472519979" sldId="436"/>
            <ac:picMk id="8" creationId="{85906011-DFCF-6E41-8E6C-974E178A2AE4}"/>
          </ac:picMkLst>
        </pc:picChg>
      </pc:sldChg>
      <pc:sldMasterChg chg="delSldLayout">
        <pc:chgData name="Christopher Schulz" userId="c7a37fbc-fc18-47fa-bc4e-1f96df76f530" providerId="ADAL" clId="{D3475D91-1DB2-6340-86DE-860237F9C8A3}" dt="2019-10-17T05:16:54.812" v="119" actId="2696"/>
        <pc:sldMasterMkLst>
          <pc:docMk/>
          <pc:sldMasterMk cId="0" sldId="2147483648"/>
        </pc:sldMasterMkLst>
      </pc:sldMasterChg>
    </pc:docChg>
  </pc:docChgLst>
  <pc:docChgLst>
    <pc:chgData name="Christopher Schulz" userId="c7a37fbc-fc18-47fa-bc4e-1f96df76f530" providerId="ADAL" clId="{07909D77-401E-5946-9962-B79D43D8EA0D}"/>
    <pc:docChg chg="undo custSel delSld modSld">
      <pc:chgData name="Christopher Schulz" userId="c7a37fbc-fc18-47fa-bc4e-1f96df76f530" providerId="ADAL" clId="{07909D77-401E-5946-9962-B79D43D8EA0D}" dt="2020-02-13T18:17:06.195" v="856" actId="20577"/>
      <pc:docMkLst>
        <pc:docMk/>
      </pc:docMkLst>
      <pc:sldChg chg="addSp delSp modSp">
        <pc:chgData name="Christopher Schulz" userId="c7a37fbc-fc18-47fa-bc4e-1f96df76f530" providerId="ADAL" clId="{07909D77-401E-5946-9962-B79D43D8EA0D}" dt="2020-02-13T18:17:06.195" v="856" actId="20577"/>
        <pc:sldMkLst>
          <pc:docMk/>
          <pc:sldMk cId="3168066364" sldId="256"/>
        </pc:sldMkLst>
        <pc:spChg chg="mod">
          <ac:chgData name="Christopher Schulz" userId="c7a37fbc-fc18-47fa-bc4e-1f96df76f530" providerId="ADAL" clId="{07909D77-401E-5946-9962-B79D43D8EA0D}" dt="2020-02-13T14:43:04.068" v="652" actId="790"/>
          <ac:spMkLst>
            <pc:docMk/>
            <pc:sldMk cId="3168066364" sldId="256"/>
            <ac:spMk id="2" creationId="{D68C5A50-1913-4507-988E-B3319E45906C}"/>
          </ac:spMkLst>
        </pc:spChg>
        <pc:spChg chg="mod">
          <ac:chgData name="Christopher Schulz" userId="c7a37fbc-fc18-47fa-bc4e-1f96df76f530" providerId="ADAL" clId="{07909D77-401E-5946-9962-B79D43D8EA0D}" dt="2020-02-13T14:42:59.719" v="651" actId="20577"/>
          <ac:spMkLst>
            <pc:docMk/>
            <pc:sldMk cId="3168066364" sldId="256"/>
            <ac:spMk id="3" creationId="{5F0B0340-28DE-4C04-BA5A-1EB9C2F0782D}"/>
          </ac:spMkLst>
        </pc:spChg>
        <pc:spChg chg="add mod">
          <ac:chgData name="Christopher Schulz" userId="c7a37fbc-fc18-47fa-bc4e-1f96df76f530" providerId="ADAL" clId="{07909D77-401E-5946-9962-B79D43D8EA0D}" dt="2020-02-13T18:16:24.779" v="832" actId="1038"/>
          <ac:spMkLst>
            <pc:docMk/>
            <pc:sldMk cId="3168066364" sldId="256"/>
            <ac:spMk id="4" creationId="{EBA4A055-C615-2444-9C59-062382808570}"/>
          </ac:spMkLst>
        </pc:spChg>
        <pc:spChg chg="mod">
          <ac:chgData name="Christopher Schulz" userId="c7a37fbc-fc18-47fa-bc4e-1f96df76f530" providerId="ADAL" clId="{07909D77-401E-5946-9962-B79D43D8EA0D}" dt="2020-02-13T14:37:39.894" v="536" actId="20577"/>
          <ac:spMkLst>
            <pc:docMk/>
            <pc:sldMk cId="3168066364" sldId="256"/>
            <ac:spMk id="9" creationId="{2CFC355E-1952-E84D-BA17-53C79032133E}"/>
          </ac:spMkLst>
        </pc:spChg>
        <pc:spChg chg="add mod">
          <ac:chgData name="Christopher Schulz" userId="c7a37fbc-fc18-47fa-bc4e-1f96df76f530" providerId="ADAL" clId="{07909D77-401E-5946-9962-B79D43D8EA0D}" dt="2020-02-13T18:17:06.195" v="856" actId="20577"/>
          <ac:spMkLst>
            <pc:docMk/>
            <pc:sldMk cId="3168066364" sldId="256"/>
            <ac:spMk id="11" creationId="{525ECC90-7F91-6F43-81FF-C86B4F03525F}"/>
          </ac:spMkLst>
        </pc:spChg>
        <pc:spChg chg="add mod">
          <ac:chgData name="Christopher Schulz" userId="c7a37fbc-fc18-47fa-bc4e-1f96df76f530" providerId="ADAL" clId="{07909D77-401E-5946-9962-B79D43D8EA0D}" dt="2020-02-13T14:46:03.172" v="817" actId="1076"/>
          <ac:spMkLst>
            <pc:docMk/>
            <pc:sldMk cId="3168066364" sldId="256"/>
            <ac:spMk id="12" creationId="{7C3701C7-6723-5F40-B891-CB0B03C32712}"/>
          </ac:spMkLst>
        </pc:spChg>
        <pc:spChg chg="add mod">
          <ac:chgData name="Christopher Schulz" userId="c7a37fbc-fc18-47fa-bc4e-1f96df76f530" providerId="ADAL" clId="{07909D77-401E-5946-9962-B79D43D8EA0D}" dt="2020-02-13T14:46:03.172" v="817" actId="1076"/>
          <ac:spMkLst>
            <pc:docMk/>
            <pc:sldMk cId="3168066364" sldId="256"/>
            <ac:spMk id="20" creationId="{3B447BF1-B6C2-4548-909F-A281C6E6FC34}"/>
          </ac:spMkLst>
        </pc:spChg>
        <pc:spChg chg="add mod">
          <ac:chgData name="Christopher Schulz" userId="c7a37fbc-fc18-47fa-bc4e-1f96df76f530" providerId="ADAL" clId="{07909D77-401E-5946-9962-B79D43D8EA0D}" dt="2020-02-13T14:46:03.172" v="817" actId="1076"/>
          <ac:spMkLst>
            <pc:docMk/>
            <pc:sldMk cId="3168066364" sldId="256"/>
            <ac:spMk id="24" creationId="{F469DF17-2AF0-AF40-91B7-08D6816BC626}"/>
          </ac:spMkLst>
        </pc:spChg>
        <pc:spChg chg="add del mod">
          <ac:chgData name="Christopher Schulz" userId="c7a37fbc-fc18-47fa-bc4e-1f96df76f530" providerId="ADAL" clId="{07909D77-401E-5946-9962-B79D43D8EA0D}" dt="2020-02-13T14:28:36.726" v="240" actId="478"/>
          <ac:spMkLst>
            <pc:docMk/>
            <pc:sldMk cId="3168066364" sldId="256"/>
            <ac:spMk id="40" creationId="{54105BF7-445E-9445-A8CB-983FCA514E0C}"/>
          </ac:spMkLst>
        </pc:spChg>
        <pc:spChg chg="add del mod">
          <ac:chgData name="Christopher Schulz" userId="c7a37fbc-fc18-47fa-bc4e-1f96df76f530" providerId="ADAL" clId="{07909D77-401E-5946-9962-B79D43D8EA0D}" dt="2020-02-13T14:28:36.726" v="240" actId="478"/>
          <ac:spMkLst>
            <pc:docMk/>
            <pc:sldMk cId="3168066364" sldId="256"/>
            <ac:spMk id="41" creationId="{ABA4D77A-DA35-5143-97B5-15110F03F52E}"/>
          </ac:spMkLst>
        </pc:spChg>
        <pc:spChg chg="add del mod">
          <ac:chgData name="Christopher Schulz" userId="c7a37fbc-fc18-47fa-bc4e-1f96df76f530" providerId="ADAL" clId="{07909D77-401E-5946-9962-B79D43D8EA0D}" dt="2020-02-13T14:28:50.015" v="256"/>
          <ac:spMkLst>
            <pc:docMk/>
            <pc:sldMk cId="3168066364" sldId="256"/>
            <ac:spMk id="42" creationId="{A048750F-15F4-DB4B-8047-FD324E51E250}"/>
          </ac:spMkLst>
        </pc:spChg>
        <pc:spChg chg="add mod">
          <ac:chgData name="Christopher Schulz" userId="c7a37fbc-fc18-47fa-bc4e-1f96df76f530" providerId="ADAL" clId="{07909D77-401E-5946-9962-B79D43D8EA0D}" dt="2020-02-13T14:46:03.172" v="817" actId="1076"/>
          <ac:spMkLst>
            <pc:docMk/>
            <pc:sldMk cId="3168066364" sldId="256"/>
            <ac:spMk id="47" creationId="{76579BF3-EB21-144E-8E9F-47C0CD03AF43}"/>
          </ac:spMkLst>
        </pc:spChg>
        <pc:spChg chg="add mod">
          <ac:chgData name="Christopher Schulz" userId="c7a37fbc-fc18-47fa-bc4e-1f96df76f530" providerId="ADAL" clId="{07909D77-401E-5946-9962-B79D43D8EA0D}" dt="2020-02-13T14:46:03.172" v="817" actId="1076"/>
          <ac:spMkLst>
            <pc:docMk/>
            <pc:sldMk cId="3168066364" sldId="256"/>
            <ac:spMk id="48" creationId="{089310DF-EB75-9F4D-8F3E-44D7BECDFF9A}"/>
          </ac:spMkLst>
        </pc:spChg>
        <pc:spChg chg="add mod">
          <ac:chgData name="Christopher Schulz" userId="c7a37fbc-fc18-47fa-bc4e-1f96df76f530" providerId="ADAL" clId="{07909D77-401E-5946-9962-B79D43D8EA0D}" dt="2020-02-13T18:16:22.041" v="829" actId="1076"/>
          <ac:spMkLst>
            <pc:docMk/>
            <pc:sldMk cId="3168066364" sldId="256"/>
            <ac:spMk id="52" creationId="{AAD92057-2808-7D45-91CF-78137E99BE07}"/>
          </ac:spMkLst>
        </pc:spChg>
        <pc:spChg chg="add mod">
          <ac:chgData name="Christopher Schulz" userId="c7a37fbc-fc18-47fa-bc4e-1f96df76f530" providerId="ADAL" clId="{07909D77-401E-5946-9962-B79D43D8EA0D}" dt="2020-02-13T18:16:22.041" v="829" actId="1076"/>
          <ac:spMkLst>
            <pc:docMk/>
            <pc:sldMk cId="3168066364" sldId="256"/>
            <ac:spMk id="55" creationId="{EB76A127-E6B2-FC40-A1E8-B7F7EB192480}"/>
          </ac:spMkLst>
        </pc:spChg>
        <pc:spChg chg="add mod">
          <ac:chgData name="Christopher Schulz" userId="c7a37fbc-fc18-47fa-bc4e-1f96df76f530" providerId="ADAL" clId="{07909D77-401E-5946-9962-B79D43D8EA0D}" dt="2020-02-13T14:46:08.451" v="818" actId="1076"/>
          <ac:spMkLst>
            <pc:docMk/>
            <pc:sldMk cId="3168066364" sldId="256"/>
            <ac:spMk id="56" creationId="{10D63E0A-4BE3-A147-A2CA-128028B6D9C3}"/>
          </ac:spMkLst>
        </pc:spChg>
        <pc:spChg chg="add mod">
          <ac:chgData name="Christopher Schulz" userId="c7a37fbc-fc18-47fa-bc4e-1f96df76f530" providerId="ADAL" clId="{07909D77-401E-5946-9962-B79D43D8EA0D}" dt="2020-02-13T14:46:03.172" v="817" actId="1076"/>
          <ac:spMkLst>
            <pc:docMk/>
            <pc:sldMk cId="3168066364" sldId="256"/>
            <ac:spMk id="57" creationId="{1B0EE509-73DD-6E49-8828-0A28D8365F73}"/>
          </ac:spMkLst>
        </pc:spChg>
        <pc:spChg chg="add mod">
          <ac:chgData name="Christopher Schulz" userId="c7a37fbc-fc18-47fa-bc4e-1f96df76f530" providerId="ADAL" clId="{07909D77-401E-5946-9962-B79D43D8EA0D}" dt="2020-02-13T14:47:16.814" v="826" actId="1076"/>
          <ac:spMkLst>
            <pc:docMk/>
            <pc:sldMk cId="3168066364" sldId="256"/>
            <ac:spMk id="58" creationId="{7B2020FF-33DE-E045-A93A-75BF2EBDBA32}"/>
          </ac:spMkLst>
        </pc:spChg>
        <pc:spChg chg="add mod">
          <ac:chgData name="Christopher Schulz" userId="c7a37fbc-fc18-47fa-bc4e-1f96df76f530" providerId="ADAL" clId="{07909D77-401E-5946-9962-B79D43D8EA0D}" dt="2020-02-13T14:47:09.571" v="824" actId="1076"/>
          <ac:spMkLst>
            <pc:docMk/>
            <pc:sldMk cId="3168066364" sldId="256"/>
            <ac:spMk id="63" creationId="{0F54640C-E12E-D44F-BE3B-B5C1D3A3F457}"/>
          </ac:spMkLst>
        </pc:spChg>
        <pc:graphicFrameChg chg="del">
          <ac:chgData name="Christopher Schulz" userId="c7a37fbc-fc18-47fa-bc4e-1f96df76f530" providerId="ADAL" clId="{07909D77-401E-5946-9962-B79D43D8EA0D}" dt="2020-02-13T14:20:22.857" v="70" actId="478"/>
          <ac:graphicFrameMkLst>
            <pc:docMk/>
            <pc:sldMk cId="3168066364" sldId="256"/>
            <ac:graphicFrameMk id="6" creationId="{78112048-7899-1C44-B8EC-A001E6C13E15}"/>
          </ac:graphicFrameMkLst>
        </pc:graphicFrameChg>
        <pc:graphicFrameChg chg="del">
          <ac:chgData name="Christopher Schulz" userId="c7a37fbc-fc18-47fa-bc4e-1f96df76f530" providerId="ADAL" clId="{07909D77-401E-5946-9962-B79D43D8EA0D}" dt="2020-02-13T14:20:22.857" v="70" actId="478"/>
          <ac:graphicFrameMkLst>
            <pc:docMk/>
            <pc:sldMk cId="3168066364" sldId="256"/>
            <ac:graphicFrameMk id="7" creationId="{CAD18F1B-98FB-EB44-B6EA-BE897FC3E456}"/>
          </ac:graphicFrameMkLst>
        </pc:graphicFrameChg>
        <pc:picChg chg="del">
          <ac:chgData name="Christopher Schulz" userId="c7a37fbc-fc18-47fa-bc4e-1f96df76f530" providerId="ADAL" clId="{07909D77-401E-5946-9962-B79D43D8EA0D}" dt="2020-02-13T14:20:22.857" v="70" actId="478"/>
          <ac:picMkLst>
            <pc:docMk/>
            <pc:sldMk cId="3168066364" sldId="256"/>
            <ac:picMk id="8" creationId="{859A143B-A9FE-5B4C-8403-450E9D19B681}"/>
          </ac:picMkLst>
        </pc:picChg>
        <pc:picChg chg="del">
          <ac:chgData name="Christopher Schulz" userId="c7a37fbc-fc18-47fa-bc4e-1f96df76f530" providerId="ADAL" clId="{07909D77-401E-5946-9962-B79D43D8EA0D}" dt="2020-02-13T14:20:22.857" v="70" actId="478"/>
          <ac:picMkLst>
            <pc:docMk/>
            <pc:sldMk cId="3168066364" sldId="256"/>
            <ac:picMk id="10" creationId="{D50F8B04-D52E-D14A-9520-3709A897368F}"/>
          </ac:picMkLst>
        </pc:picChg>
        <pc:picChg chg="add del mod">
          <ac:chgData name="Christopher Schulz" userId="c7a37fbc-fc18-47fa-bc4e-1f96df76f530" providerId="ADAL" clId="{07909D77-401E-5946-9962-B79D43D8EA0D}" dt="2020-02-13T14:41:12.155" v="567" actId="478"/>
          <ac:picMkLst>
            <pc:docMk/>
            <pc:sldMk cId="3168066364" sldId="256"/>
            <ac:picMk id="65" creationId="{CC3B2B9C-965B-194A-ABFB-316C6D5C34C1}"/>
          </ac:picMkLst>
        </pc:picChg>
        <pc:picChg chg="add mod">
          <ac:chgData name="Christopher Schulz" userId="c7a37fbc-fc18-47fa-bc4e-1f96df76f530" providerId="ADAL" clId="{07909D77-401E-5946-9962-B79D43D8EA0D}" dt="2020-02-13T14:46:03.172" v="817" actId="1076"/>
          <ac:picMkLst>
            <pc:docMk/>
            <pc:sldMk cId="3168066364" sldId="256"/>
            <ac:picMk id="67" creationId="{21F0E87E-9B89-C342-AD8D-A812BF83D754}"/>
          </ac:picMkLst>
        </pc:picChg>
        <pc:picChg chg="add mod">
          <ac:chgData name="Christopher Schulz" userId="c7a37fbc-fc18-47fa-bc4e-1f96df76f530" providerId="ADAL" clId="{07909D77-401E-5946-9962-B79D43D8EA0D}" dt="2020-02-13T14:46:03.172" v="817" actId="1076"/>
          <ac:picMkLst>
            <pc:docMk/>
            <pc:sldMk cId="3168066364" sldId="256"/>
            <ac:picMk id="69" creationId="{49CD0D3F-AB96-8246-8408-5FAFF9B497B7}"/>
          </ac:picMkLst>
        </pc:picChg>
        <pc:picChg chg="add del mod">
          <ac:chgData name="Christopher Schulz" userId="c7a37fbc-fc18-47fa-bc4e-1f96df76f530" providerId="ADAL" clId="{07909D77-401E-5946-9962-B79D43D8EA0D}" dt="2020-02-13T14:41:12.155" v="567" actId="478"/>
          <ac:picMkLst>
            <pc:docMk/>
            <pc:sldMk cId="3168066364" sldId="256"/>
            <ac:picMk id="71" creationId="{BD2BEEAE-D043-574E-B28E-DD4913AC4689}"/>
          </ac:picMkLst>
        </pc:picChg>
        <pc:picChg chg="add mod">
          <ac:chgData name="Christopher Schulz" userId="c7a37fbc-fc18-47fa-bc4e-1f96df76f530" providerId="ADAL" clId="{07909D77-401E-5946-9962-B79D43D8EA0D}" dt="2020-02-13T14:46:03.172" v="817" actId="1076"/>
          <ac:picMkLst>
            <pc:docMk/>
            <pc:sldMk cId="3168066364" sldId="256"/>
            <ac:picMk id="73" creationId="{8F1F2886-5F91-A849-92C8-398E3F7B5350}"/>
          </ac:picMkLst>
        </pc:picChg>
        <pc:picChg chg="add mod">
          <ac:chgData name="Christopher Schulz" userId="c7a37fbc-fc18-47fa-bc4e-1f96df76f530" providerId="ADAL" clId="{07909D77-401E-5946-9962-B79D43D8EA0D}" dt="2020-02-13T14:46:03.172" v="817" actId="1076"/>
          <ac:picMkLst>
            <pc:docMk/>
            <pc:sldMk cId="3168066364" sldId="256"/>
            <ac:picMk id="75" creationId="{61A481AC-2C84-634E-889D-B57122DAE414}"/>
          </ac:picMkLst>
        </pc:picChg>
        <pc:cxnChg chg="add mod">
          <ac:chgData name="Christopher Schulz" userId="c7a37fbc-fc18-47fa-bc4e-1f96df76f530" providerId="ADAL" clId="{07909D77-401E-5946-9962-B79D43D8EA0D}" dt="2020-02-13T18:16:24.779" v="832" actId="1038"/>
          <ac:cxnSpMkLst>
            <pc:docMk/>
            <pc:sldMk cId="3168066364" sldId="256"/>
            <ac:cxnSpMk id="13" creationId="{276038E9-BA9E-2744-B068-8E99E3FDAD2E}"/>
          </ac:cxnSpMkLst>
        </pc:cxnChg>
        <pc:cxnChg chg="add mod">
          <ac:chgData name="Christopher Schulz" userId="c7a37fbc-fc18-47fa-bc4e-1f96df76f530" providerId="ADAL" clId="{07909D77-401E-5946-9962-B79D43D8EA0D}" dt="2020-02-13T18:16:24.779" v="832" actId="1038"/>
          <ac:cxnSpMkLst>
            <pc:docMk/>
            <pc:sldMk cId="3168066364" sldId="256"/>
            <ac:cxnSpMk id="15" creationId="{D0E8B1AC-D997-CA4A-88CB-E2A2065DBD22}"/>
          </ac:cxnSpMkLst>
        </pc:cxnChg>
        <pc:cxnChg chg="add del mod">
          <ac:chgData name="Christopher Schulz" userId="c7a37fbc-fc18-47fa-bc4e-1f96df76f530" providerId="ADAL" clId="{07909D77-401E-5946-9962-B79D43D8EA0D}" dt="2020-02-13T14:23:13.101" v="158" actId="478"/>
          <ac:cxnSpMkLst>
            <pc:docMk/>
            <pc:sldMk cId="3168066364" sldId="256"/>
            <ac:cxnSpMk id="17" creationId="{152B474B-1385-C640-8D90-E90EE0944AC3}"/>
          </ac:cxnSpMkLst>
        </pc:cxnChg>
        <pc:cxnChg chg="add mod">
          <ac:chgData name="Christopher Schulz" userId="c7a37fbc-fc18-47fa-bc4e-1f96df76f530" providerId="ADAL" clId="{07909D77-401E-5946-9962-B79D43D8EA0D}" dt="2020-02-13T18:16:24.779" v="832" actId="1038"/>
          <ac:cxnSpMkLst>
            <pc:docMk/>
            <pc:sldMk cId="3168066364" sldId="256"/>
            <ac:cxnSpMk id="19" creationId="{1A447975-C2F0-7A43-BCA5-6679E37A6083}"/>
          </ac:cxnSpMkLst>
        </pc:cxnChg>
        <pc:cxnChg chg="add mod">
          <ac:chgData name="Christopher Schulz" userId="c7a37fbc-fc18-47fa-bc4e-1f96df76f530" providerId="ADAL" clId="{07909D77-401E-5946-9962-B79D43D8EA0D}" dt="2020-02-13T14:47:00.896" v="822" actId="14100"/>
          <ac:cxnSpMkLst>
            <pc:docMk/>
            <pc:sldMk cId="3168066364" sldId="256"/>
            <ac:cxnSpMk id="25" creationId="{D9142291-DC66-4C46-A135-9CC157BF6704}"/>
          </ac:cxnSpMkLst>
        </pc:cxnChg>
        <pc:cxnChg chg="add mod">
          <ac:chgData name="Christopher Schulz" userId="c7a37fbc-fc18-47fa-bc4e-1f96df76f530" providerId="ADAL" clId="{07909D77-401E-5946-9962-B79D43D8EA0D}" dt="2020-02-13T14:46:53.808" v="820" actId="14100"/>
          <ac:cxnSpMkLst>
            <pc:docMk/>
            <pc:sldMk cId="3168066364" sldId="256"/>
            <ac:cxnSpMk id="28" creationId="{22EA9298-ABC5-574E-8E7F-8313A1C8E1F3}"/>
          </ac:cxnSpMkLst>
        </pc:cxnChg>
        <pc:cxnChg chg="add mod">
          <ac:chgData name="Christopher Schulz" userId="c7a37fbc-fc18-47fa-bc4e-1f96df76f530" providerId="ADAL" clId="{07909D77-401E-5946-9962-B79D43D8EA0D}" dt="2020-02-13T14:47:14.384" v="825" actId="14100"/>
          <ac:cxnSpMkLst>
            <pc:docMk/>
            <pc:sldMk cId="3168066364" sldId="256"/>
            <ac:cxnSpMk id="43" creationId="{580DF897-3A19-3E49-A1D0-33F6FDC8861C}"/>
          </ac:cxnSpMkLst>
        </pc:cxnChg>
        <pc:cxnChg chg="add mod">
          <ac:chgData name="Christopher Schulz" userId="c7a37fbc-fc18-47fa-bc4e-1f96df76f530" providerId="ADAL" clId="{07909D77-401E-5946-9962-B79D43D8EA0D}" dt="2020-02-13T14:47:06.221" v="823" actId="14100"/>
          <ac:cxnSpMkLst>
            <pc:docMk/>
            <pc:sldMk cId="3168066364" sldId="256"/>
            <ac:cxnSpMk id="45" creationId="{59AD6A25-97F8-074F-9989-46709164F64A}"/>
          </ac:cxnSpMkLst>
        </pc:cxnChg>
      </pc:sldChg>
      <pc:sldChg chg="modSp">
        <pc:chgData name="Christopher Schulz" userId="c7a37fbc-fc18-47fa-bc4e-1f96df76f530" providerId="ADAL" clId="{07909D77-401E-5946-9962-B79D43D8EA0D}" dt="2020-02-13T14:45:11.791" v="816" actId="20577"/>
        <pc:sldMkLst>
          <pc:docMk/>
          <pc:sldMk cId="1472519979" sldId="436"/>
        </pc:sldMkLst>
        <pc:spChg chg="mod">
          <ac:chgData name="Christopher Schulz" userId="c7a37fbc-fc18-47fa-bc4e-1f96df76f530" providerId="ADAL" clId="{07909D77-401E-5946-9962-B79D43D8EA0D}" dt="2020-02-13T14:45:11.791" v="816" actId="20577"/>
          <ac:spMkLst>
            <pc:docMk/>
            <pc:sldMk cId="1472519979" sldId="436"/>
            <ac:spMk id="10" creationId="{274B8FD3-DE57-F04F-8CE3-DD4FB0B74771}"/>
          </ac:spMkLst>
        </pc:spChg>
      </pc:sldChg>
      <pc:sldChg chg="del">
        <pc:chgData name="Christopher Schulz" userId="c7a37fbc-fc18-47fa-bc4e-1f96df76f530" providerId="ADAL" clId="{07909D77-401E-5946-9962-B79D43D8EA0D}" dt="2020-02-13T14:43:06.885" v="653" actId="2696"/>
        <pc:sldMkLst>
          <pc:docMk/>
          <pc:sldMk cId="3192340078" sldId="439"/>
        </pc:sldMkLst>
      </pc:sldChg>
      <pc:sldChg chg="addSp delSp modSp">
        <pc:chgData name="Christopher Schulz" userId="c7a37fbc-fc18-47fa-bc4e-1f96df76f530" providerId="ADAL" clId="{07909D77-401E-5946-9962-B79D43D8EA0D}" dt="2020-02-13T14:42:39.821" v="601" actId="790"/>
        <pc:sldMkLst>
          <pc:docMk/>
          <pc:sldMk cId="3209056058" sldId="440"/>
        </pc:sldMkLst>
        <pc:spChg chg="add del mod">
          <ac:chgData name="Christopher Schulz" userId="c7a37fbc-fc18-47fa-bc4e-1f96df76f530" providerId="ADAL" clId="{07909D77-401E-5946-9962-B79D43D8EA0D}" dt="2020-02-13T14:17:52.809" v="39" actId="1076"/>
          <ac:spMkLst>
            <pc:docMk/>
            <pc:sldMk cId="3209056058" sldId="440"/>
            <ac:spMk id="12" creationId="{32EF9AB9-F3CC-6340-AFA5-FD80FF545825}"/>
          </ac:spMkLst>
        </pc:spChg>
        <pc:spChg chg="mod">
          <ac:chgData name="Christopher Schulz" userId="c7a37fbc-fc18-47fa-bc4e-1f96df76f530" providerId="ADAL" clId="{07909D77-401E-5946-9962-B79D43D8EA0D}" dt="2020-02-13T14:42:39.821" v="601" actId="790"/>
          <ac:spMkLst>
            <pc:docMk/>
            <pc:sldMk cId="3209056058" sldId="440"/>
            <ac:spMk id="16" creationId="{B6283CED-F12B-D640-B69C-31DCB8F74681}"/>
          </ac:spMkLst>
        </pc:spChg>
        <pc:picChg chg="del">
          <ac:chgData name="Christopher Schulz" userId="c7a37fbc-fc18-47fa-bc4e-1f96df76f530" providerId="ADAL" clId="{07909D77-401E-5946-9962-B79D43D8EA0D}" dt="2020-02-13T14:12:59.963" v="3" actId="478"/>
          <ac:picMkLst>
            <pc:docMk/>
            <pc:sldMk cId="3209056058" sldId="440"/>
            <ac:picMk id="2" creationId="{C2CEF475-9A19-4341-ADF8-E13142A5A511}"/>
          </ac:picMkLst>
        </pc:picChg>
        <pc:picChg chg="add del mod">
          <ac:chgData name="Christopher Schulz" userId="c7a37fbc-fc18-47fa-bc4e-1f96df76f530" providerId="ADAL" clId="{07909D77-401E-5946-9962-B79D43D8EA0D}" dt="2020-02-13T14:13:22.157" v="6" actId="478"/>
          <ac:picMkLst>
            <pc:docMk/>
            <pc:sldMk cId="3209056058" sldId="440"/>
            <ac:picMk id="3" creationId="{41DC4C78-3AF1-974B-98D6-5B824704C6B7}"/>
          </ac:picMkLst>
        </pc:picChg>
        <pc:picChg chg="add del">
          <ac:chgData name="Christopher Schulz" userId="c7a37fbc-fc18-47fa-bc4e-1f96df76f530" providerId="ADAL" clId="{07909D77-401E-5946-9962-B79D43D8EA0D}" dt="2020-02-13T14:13:50.969" v="8" actId="478"/>
          <ac:picMkLst>
            <pc:docMk/>
            <pc:sldMk cId="3209056058" sldId="440"/>
            <ac:picMk id="4" creationId="{BAAA6DFA-B180-AA4A-B323-7F5836D6AD8C}"/>
          </ac:picMkLst>
        </pc:picChg>
        <pc:picChg chg="add mod modCrop">
          <ac:chgData name="Christopher Schulz" userId="c7a37fbc-fc18-47fa-bc4e-1f96df76f530" providerId="ADAL" clId="{07909D77-401E-5946-9962-B79D43D8EA0D}" dt="2020-02-13T14:17:45.501" v="38" actId="167"/>
          <ac:picMkLst>
            <pc:docMk/>
            <pc:sldMk cId="3209056058" sldId="440"/>
            <ac:picMk id="5" creationId="{CB4EEF46-D9DA-C346-B025-B21C8C8541AB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723C8B-2717-4CDE-BEE6-18ABB9C6FA79}" type="datetimeFigureOut">
              <a:rPr lang="de-DE" smtClean="0"/>
              <a:t>02.12.20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1D63DA-5223-4012-9641-AF0D026023A9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16333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6D25BE-4D64-4415-8FA1-241CC2DCED3A}" type="datetimeFigureOut">
              <a:rPr lang="de-DE" smtClean="0"/>
              <a:t>02.12.20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0488FB-7475-4B88-89D7-DBB5E54523E4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12498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Bild ersetze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0488FB-7475-4B88-89D7-DBB5E54523E4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45245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Sub-Titel_intern_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39077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platzhalter 72"/>
          <p:cNvSpPr>
            <a:spLocks noGrp="1"/>
          </p:cNvSpPr>
          <p:nvPr>
            <p:ph type="title"/>
          </p:nvPr>
        </p:nvSpPr>
        <p:spPr>
          <a:xfrm>
            <a:off x="457200" y="50801"/>
            <a:ext cx="7210425" cy="364902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>
                <a:solidFill>
                  <a:srgbClr val="4C586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 flipH="1">
            <a:off x="466972" y="730133"/>
            <a:ext cx="7200000" cy="0"/>
          </a:xfrm>
          <a:prstGeom prst="line">
            <a:avLst/>
          </a:prstGeom>
          <a:ln cap="flat">
            <a:solidFill>
              <a:srgbClr val="73737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466725" y="415703"/>
            <a:ext cx="7200900" cy="319310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Clr>
                <a:schemeClr val="tx1"/>
              </a:buClr>
              <a:buFont typeface="Arial" panose="020B0604020202020204" pitchFamily="34" charset="0"/>
              <a:buNone/>
              <a:defRPr sz="1600" baseline="0">
                <a:solidFill>
                  <a:srgbClr val="4C5861"/>
                </a:solidFill>
                <a:latin typeface="+mn-lt"/>
              </a:defRPr>
            </a:lvl1pPr>
            <a:lvl2pPr marL="800100" indent="-342900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1200150" indent="-285750"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657350" indent="-285750"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4pPr>
            <a:lvl5pPr marL="2114550" indent="-285750"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Sub-Headline – Arial – 16px</a:t>
            </a:r>
          </a:p>
        </p:txBody>
      </p:sp>
      <p:sp>
        <p:nvSpPr>
          <p:cNvPr id="7" name="Datumsplatzhalter 1"/>
          <p:cNvSpPr>
            <a:spLocks noGrp="1"/>
          </p:cNvSpPr>
          <p:nvPr>
            <p:ph type="dt" sz="half" idx="2"/>
          </p:nvPr>
        </p:nvSpPr>
        <p:spPr>
          <a:xfrm>
            <a:off x="475655" y="4729006"/>
            <a:ext cx="566935" cy="27463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de-DE" sz="800" smtClean="0">
                <a:solidFill>
                  <a:srgbClr val="4C586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226"/>
            <a:r>
              <a:rPr lang="de-DE" dirty="0"/>
              <a:t>08.06.2015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468313" y="915988"/>
            <a:ext cx="8273951" cy="3671887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rgbClr val="3F98A6"/>
              </a:buClr>
              <a:buFont typeface="Wingdings" panose="05000000000000000000" pitchFamily="2" charset="2"/>
              <a:buChar char="§"/>
              <a:defRPr sz="1600">
                <a:solidFill>
                  <a:schemeClr val="accent6"/>
                </a:solidFill>
              </a:defRPr>
            </a:lvl1pPr>
            <a:lvl2pPr marL="625475" indent="-168275">
              <a:buClr>
                <a:srgbClr val="3F98A6"/>
              </a:buClr>
              <a:buFont typeface="Wingdings" panose="05000000000000000000" pitchFamily="2" charset="2"/>
              <a:buChar char="§"/>
              <a:defRPr sz="1600">
                <a:solidFill>
                  <a:schemeClr val="accent6"/>
                </a:solidFill>
              </a:defRPr>
            </a:lvl2pPr>
            <a:lvl3pPr marL="1074738" indent="-160338">
              <a:buClr>
                <a:srgbClr val="3F98A6"/>
              </a:buClr>
              <a:buFont typeface="Wingdings" panose="05000000000000000000" pitchFamily="2" charset="2"/>
              <a:buChar char="§"/>
              <a:defRPr sz="1600">
                <a:solidFill>
                  <a:schemeClr val="accent6"/>
                </a:solidFill>
              </a:defRPr>
            </a:lvl3pPr>
            <a:lvl4pPr marL="1524000" indent="-152400">
              <a:buClr>
                <a:srgbClr val="3F98A6"/>
              </a:buClr>
              <a:buFont typeface="Wingdings" panose="05000000000000000000" pitchFamily="2" charset="2"/>
              <a:buChar char="§"/>
              <a:defRPr sz="1600">
                <a:solidFill>
                  <a:schemeClr val="accent6"/>
                </a:solidFill>
              </a:defRPr>
            </a:lvl4pPr>
            <a:lvl5pPr marL="1973263" indent="-144463">
              <a:buClr>
                <a:srgbClr val="3F98A6"/>
              </a:buClr>
              <a:buFont typeface="Wingdings" panose="05000000000000000000" pitchFamily="2" charset="2"/>
              <a:buChar char="§"/>
              <a:defRPr sz="1600">
                <a:solidFill>
                  <a:schemeClr val="accent6"/>
                </a:solidFill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B4887A4-73DA-4E9E-9DF2-7409FE406AC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84368" y="242398"/>
            <a:ext cx="105375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5940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D87F104-FA62-4A9D-B309-2FB961B4B3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1A00EA9-C545-4D13-94CE-8BC4B0E4095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BD3BC9E-D50A-4C33-8455-E66DEA4206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8D660A-03D6-48BE-83F1-0DBF378AD796}" type="datetimeFigureOut">
              <a:rPr lang="de-DE" smtClean="0"/>
              <a:t>02.12.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79771ED-962B-4C3B-852F-1A08CDAEC2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CB4BAF7-ABAD-4BCE-9EDE-3C77459C19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ACCDE2-B182-4B76-91E2-D732A4F9AD84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289323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image" Target="../media/image1.emf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6008739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Folie" r:id="rId20" imgW="216" imgH="216" progId="TCLayout.ActiveDocument.1">
                  <p:embed/>
                </p:oleObj>
              </mc:Choice>
              <mc:Fallback>
                <p:oleObj name="think-cell Folie" r:id="rId20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Gerade Verbindung 18"/>
          <p:cNvCxnSpPr/>
          <p:nvPr>
            <p:custDataLst>
              <p:tags r:id="rId6"/>
            </p:custDataLst>
          </p:nvPr>
        </p:nvCxnSpPr>
        <p:spPr bwMode="auto">
          <a:xfrm flipH="1">
            <a:off x="-252537" y="156761"/>
            <a:ext cx="216000" cy="0"/>
          </a:xfrm>
          <a:prstGeom prst="line">
            <a:avLst/>
          </a:prstGeom>
          <a:ln w="6350">
            <a:solidFill>
              <a:srgbClr val="003D7B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Gerade Verbindung 36"/>
          <p:cNvCxnSpPr/>
          <p:nvPr>
            <p:custDataLst>
              <p:tags r:id="rId7"/>
            </p:custDataLst>
          </p:nvPr>
        </p:nvCxnSpPr>
        <p:spPr bwMode="auto">
          <a:xfrm flipH="1">
            <a:off x="467497" y="-236562"/>
            <a:ext cx="0" cy="216000"/>
          </a:xfrm>
          <a:prstGeom prst="line">
            <a:avLst/>
          </a:prstGeom>
          <a:ln w="6350">
            <a:solidFill>
              <a:srgbClr val="003D7B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" name="Rectangle 50"/>
          <p:cNvSpPr>
            <a:spLocks noChangeArrowheads="1"/>
          </p:cNvSpPr>
          <p:nvPr/>
        </p:nvSpPr>
        <p:spPr bwMode="gray">
          <a:xfrm>
            <a:off x="-1003278" y="50800"/>
            <a:ext cx="612825" cy="595188"/>
          </a:xfrm>
          <a:prstGeom prst="rect">
            <a:avLst/>
          </a:prstGeom>
          <a:solidFill>
            <a:srgbClr val="3F98A6"/>
          </a:solidFill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63</a:t>
            </a:r>
            <a:b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52</a:t>
            </a:r>
            <a:b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66</a:t>
            </a:r>
          </a:p>
        </p:txBody>
      </p:sp>
      <p:sp>
        <p:nvSpPr>
          <p:cNvPr id="43" name="Rectangle 51"/>
          <p:cNvSpPr>
            <a:spLocks noChangeArrowheads="1"/>
          </p:cNvSpPr>
          <p:nvPr/>
        </p:nvSpPr>
        <p:spPr bwMode="gray">
          <a:xfrm>
            <a:off x="-1003278" y="676225"/>
            <a:ext cx="613962" cy="596293"/>
          </a:xfrm>
          <a:prstGeom prst="rect">
            <a:avLst/>
          </a:prstGeom>
          <a:solidFill>
            <a:srgbClr val="4DC1CB"/>
          </a:solidFill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77</a:t>
            </a:r>
            <a:b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93</a:t>
            </a:r>
            <a:b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203</a:t>
            </a:r>
          </a:p>
        </p:txBody>
      </p:sp>
      <p:sp>
        <p:nvSpPr>
          <p:cNvPr id="44" name="Rectangle 52"/>
          <p:cNvSpPr>
            <a:spLocks noChangeArrowheads="1"/>
          </p:cNvSpPr>
          <p:nvPr/>
        </p:nvSpPr>
        <p:spPr bwMode="gray">
          <a:xfrm>
            <a:off x="-1003278" y="1324297"/>
            <a:ext cx="613962" cy="596293"/>
          </a:xfrm>
          <a:prstGeom prst="rect">
            <a:avLst/>
          </a:prstGeom>
          <a:solidFill>
            <a:srgbClr val="4C5861"/>
          </a:solidFill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36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20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200</a:t>
            </a:r>
          </a:p>
        </p:txBody>
      </p:sp>
      <p:sp>
        <p:nvSpPr>
          <p:cNvPr id="45" name="Rectangle 53"/>
          <p:cNvSpPr>
            <a:spLocks noChangeArrowheads="1"/>
          </p:cNvSpPr>
          <p:nvPr/>
        </p:nvSpPr>
        <p:spPr bwMode="gray">
          <a:xfrm>
            <a:off x="-1003278" y="1972369"/>
            <a:ext cx="613962" cy="59629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0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70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14</a:t>
            </a:r>
          </a:p>
        </p:txBody>
      </p:sp>
      <p:sp>
        <p:nvSpPr>
          <p:cNvPr id="46" name="Rectangle 54"/>
          <p:cNvSpPr>
            <a:spLocks noChangeArrowheads="1"/>
          </p:cNvSpPr>
          <p:nvPr/>
        </p:nvSpPr>
        <p:spPr bwMode="gray">
          <a:xfrm>
            <a:off x="-1003278" y="2620441"/>
            <a:ext cx="612824" cy="595188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255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197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0</a:t>
            </a:r>
          </a:p>
        </p:txBody>
      </p:sp>
      <p:sp>
        <p:nvSpPr>
          <p:cNvPr id="47" name="Rectangle 55"/>
          <p:cNvSpPr>
            <a:spLocks noChangeArrowheads="1"/>
          </p:cNvSpPr>
          <p:nvPr/>
        </p:nvSpPr>
        <p:spPr bwMode="gray">
          <a:xfrm>
            <a:off x="-1003278" y="3248632"/>
            <a:ext cx="613962" cy="59629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255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53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0</a:t>
            </a:r>
          </a:p>
        </p:txBody>
      </p:sp>
      <p:sp>
        <p:nvSpPr>
          <p:cNvPr id="48" name="Rectangle 56"/>
          <p:cNvSpPr>
            <a:spLocks noChangeArrowheads="1"/>
          </p:cNvSpPr>
          <p:nvPr/>
        </p:nvSpPr>
        <p:spPr bwMode="gray">
          <a:xfrm>
            <a:off x="-1003278" y="3867785"/>
            <a:ext cx="613962" cy="596293"/>
          </a:xfrm>
          <a:prstGeom prst="rect">
            <a:avLst/>
          </a:prstGeom>
          <a:solidFill>
            <a:srgbClr val="AA142D"/>
          </a:solidFill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92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0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0</a:t>
            </a:r>
          </a:p>
        </p:txBody>
      </p:sp>
      <p:cxnSp>
        <p:nvCxnSpPr>
          <p:cNvPr id="61" name="Gerade Verbindung 60"/>
          <p:cNvCxnSpPr/>
          <p:nvPr/>
        </p:nvCxnSpPr>
        <p:spPr>
          <a:xfrm flipH="1">
            <a:off x="469449" y="4731990"/>
            <a:ext cx="8259897" cy="0"/>
          </a:xfrm>
          <a:prstGeom prst="line">
            <a:avLst/>
          </a:prstGeom>
          <a:ln cap="flat">
            <a:solidFill>
              <a:srgbClr val="73737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>
            <p:custDataLst>
              <p:tags r:id="rId8"/>
            </p:custDataLst>
          </p:nvPr>
        </p:nvCxnSpPr>
        <p:spPr bwMode="auto">
          <a:xfrm flipH="1">
            <a:off x="-252536" y="733108"/>
            <a:ext cx="207393" cy="0"/>
          </a:xfrm>
          <a:prstGeom prst="line">
            <a:avLst/>
          </a:prstGeom>
          <a:ln w="6350">
            <a:solidFill>
              <a:srgbClr val="003D7B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Gerade Verbindung 63"/>
          <p:cNvCxnSpPr/>
          <p:nvPr>
            <p:custDataLst>
              <p:tags r:id="rId9"/>
            </p:custDataLst>
          </p:nvPr>
        </p:nvCxnSpPr>
        <p:spPr bwMode="auto">
          <a:xfrm flipH="1">
            <a:off x="-252536" y="2569276"/>
            <a:ext cx="207393" cy="0"/>
          </a:xfrm>
          <a:prstGeom prst="line">
            <a:avLst/>
          </a:prstGeom>
          <a:ln w="6350">
            <a:solidFill>
              <a:srgbClr val="003D7B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Gerade Verbindung 64"/>
          <p:cNvCxnSpPr/>
          <p:nvPr>
            <p:custDataLst>
              <p:tags r:id="rId10"/>
            </p:custDataLst>
          </p:nvPr>
        </p:nvCxnSpPr>
        <p:spPr bwMode="auto">
          <a:xfrm flipH="1">
            <a:off x="-252536" y="4729006"/>
            <a:ext cx="207393" cy="0"/>
          </a:xfrm>
          <a:prstGeom prst="line">
            <a:avLst/>
          </a:prstGeom>
          <a:ln w="6350">
            <a:solidFill>
              <a:srgbClr val="003D7B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Gerade Verbindung 65"/>
          <p:cNvCxnSpPr/>
          <p:nvPr>
            <p:custDataLst>
              <p:tags r:id="rId11"/>
            </p:custDataLst>
          </p:nvPr>
        </p:nvCxnSpPr>
        <p:spPr bwMode="auto">
          <a:xfrm flipH="1">
            <a:off x="-252536" y="4767263"/>
            <a:ext cx="207393" cy="0"/>
          </a:xfrm>
          <a:prstGeom prst="line">
            <a:avLst/>
          </a:prstGeom>
          <a:ln w="6350">
            <a:solidFill>
              <a:srgbClr val="003D7B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Gerade Verbindung 66"/>
          <p:cNvCxnSpPr/>
          <p:nvPr>
            <p:custDataLst>
              <p:tags r:id="rId12"/>
            </p:custDataLst>
          </p:nvPr>
        </p:nvCxnSpPr>
        <p:spPr bwMode="auto">
          <a:xfrm flipH="1">
            <a:off x="-252536" y="4945380"/>
            <a:ext cx="207393" cy="0"/>
          </a:xfrm>
          <a:prstGeom prst="line">
            <a:avLst/>
          </a:prstGeom>
          <a:ln w="6350">
            <a:solidFill>
              <a:srgbClr val="003D7B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Gerade Verbindung 69"/>
          <p:cNvCxnSpPr/>
          <p:nvPr>
            <p:custDataLst>
              <p:tags r:id="rId13"/>
            </p:custDataLst>
          </p:nvPr>
        </p:nvCxnSpPr>
        <p:spPr bwMode="auto">
          <a:xfrm flipH="1">
            <a:off x="7667625" y="-236562"/>
            <a:ext cx="0" cy="216000"/>
          </a:xfrm>
          <a:prstGeom prst="line">
            <a:avLst/>
          </a:prstGeom>
          <a:ln w="6350">
            <a:solidFill>
              <a:srgbClr val="003D7B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Gerade Verbindung 70"/>
          <p:cNvCxnSpPr/>
          <p:nvPr>
            <p:custDataLst>
              <p:tags r:id="rId14"/>
            </p:custDataLst>
          </p:nvPr>
        </p:nvCxnSpPr>
        <p:spPr bwMode="auto">
          <a:xfrm flipH="1">
            <a:off x="8889365" y="-236562"/>
            <a:ext cx="0" cy="216000"/>
          </a:xfrm>
          <a:prstGeom prst="line">
            <a:avLst/>
          </a:prstGeom>
          <a:ln w="6350">
            <a:solidFill>
              <a:srgbClr val="003D7B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5" name="Rectangle 56"/>
          <p:cNvSpPr>
            <a:spLocks noChangeArrowheads="1"/>
          </p:cNvSpPr>
          <p:nvPr/>
        </p:nvSpPr>
        <p:spPr bwMode="gray">
          <a:xfrm>
            <a:off x="-1003278" y="4503367"/>
            <a:ext cx="613962" cy="596293"/>
          </a:xfrm>
          <a:prstGeom prst="rect">
            <a:avLst/>
          </a:prstGeom>
          <a:solidFill>
            <a:srgbClr val="737373"/>
          </a:solidFill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15</a:t>
            </a:r>
            <a:b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15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15</a:t>
            </a:r>
          </a:p>
        </p:txBody>
      </p:sp>
      <p:cxnSp>
        <p:nvCxnSpPr>
          <p:cNvPr id="76" name="Gerade Verbindung 75"/>
          <p:cNvCxnSpPr/>
          <p:nvPr>
            <p:custDataLst>
              <p:tags r:id="rId15"/>
            </p:custDataLst>
          </p:nvPr>
        </p:nvCxnSpPr>
        <p:spPr bwMode="auto">
          <a:xfrm flipH="1">
            <a:off x="-252536" y="909956"/>
            <a:ext cx="207393" cy="0"/>
          </a:xfrm>
          <a:prstGeom prst="line">
            <a:avLst/>
          </a:prstGeom>
          <a:ln w="6350">
            <a:solidFill>
              <a:srgbClr val="003D7B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Gerade Verbindung 76"/>
          <p:cNvCxnSpPr/>
          <p:nvPr>
            <p:custDataLst>
              <p:tags r:id="rId16"/>
            </p:custDataLst>
          </p:nvPr>
        </p:nvCxnSpPr>
        <p:spPr bwMode="auto">
          <a:xfrm flipH="1">
            <a:off x="-252536" y="4587875"/>
            <a:ext cx="207393" cy="0"/>
          </a:xfrm>
          <a:prstGeom prst="line">
            <a:avLst/>
          </a:prstGeom>
          <a:ln w="6350">
            <a:solidFill>
              <a:srgbClr val="003D7B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" name="Gerade Verbindung 77"/>
          <p:cNvCxnSpPr/>
          <p:nvPr>
            <p:custDataLst>
              <p:tags r:id="rId17"/>
            </p:custDataLst>
          </p:nvPr>
        </p:nvCxnSpPr>
        <p:spPr bwMode="auto">
          <a:xfrm flipH="1">
            <a:off x="4752020" y="-236562"/>
            <a:ext cx="0" cy="216000"/>
          </a:xfrm>
          <a:prstGeom prst="line">
            <a:avLst/>
          </a:prstGeom>
          <a:ln w="6350">
            <a:solidFill>
              <a:srgbClr val="003D7B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" name="Gerade Verbindung 78"/>
          <p:cNvCxnSpPr/>
          <p:nvPr>
            <p:custDataLst>
              <p:tags r:id="rId18"/>
            </p:custDataLst>
          </p:nvPr>
        </p:nvCxnSpPr>
        <p:spPr bwMode="auto">
          <a:xfrm flipH="1">
            <a:off x="4392613" y="-236562"/>
            <a:ext cx="0" cy="216000"/>
          </a:xfrm>
          <a:prstGeom prst="line">
            <a:avLst/>
          </a:prstGeom>
          <a:ln w="6350">
            <a:solidFill>
              <a:srgbClr val="003D7B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" name="Gerade Verbindung 79"/>
          <p:cNvCxnSpPr/>
          <p:nvPr>
            <p:custDataLst>
              <p:tags r:id="rId19"/>
            </p:custDataLst>
          </p:nvPr>
        </p:nvCxnSpPr>
        <p:spPr bwMode="auto">
          <a:xfrm flipH="1">
            <a:off x="8729346" y="-236562"/>
            <a:ext cx="0" cy="216000"/>
          </a:xfrm>
          <a:prstGeom prst="line">
            <a:avLst/>
          </a:prstGeom>
          <a:ln w="6350">
            <a:solidFill>
              <a:srgbClr val="003D7B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Textfeld 2"/>
          <p:cNvSpPr txBox="1"/>
          <p:nvPr/>
        </p:nvSpPr>
        <p:spPr>
          <a:xfrm rot="16200000">
            <a:off x="-72997" y="-593469"/>
            <a:ext cx="8995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 dirty="0"/>
              <a:t>Weißer Rand links [kein Content!!]</a:t>
            </a:r>
          </a:p>
        </p:txBody>
      </p:sp>
      <p:sp>
        <p:nvSpPr>
          <p:cNvPr id="32" name="Textfeld 31"/>
          <p:cNvSpPr txBox="1"/>
          <p:nvPr/>
        </p:nvSpPr>
        <p:spPr>
          <a:xfrm rot="16200000">
            <a:off x="8528292" y="-593469"/>
            <a:ext cx="8995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 dirty="0"/>
              <a:t>Weißer Rand rechts [kein Content!]</a:t>
            </a:r>
          </a:p>
        </p:txBody>
      </p:sp>
      <p:sp>
        <p:nvSpPr>
          <p:cNvPr id="33" name="Textfeld 32"/>
          <p:cNvSpPr txBox="1"/>
          <p:nvPr/>
        </p:nvSpPr>
        <p:spPr>
          <a:xfrm rot="16200000">
            <a:off x="4072352" y="-554998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 dirty="0"/>
              <a:t>Mittellinie</a:t>
            </a:r>
          </a:p>
        </p:txBody>
      </p:sp>
      <p:sp>
        <p:nvSpPr>
          <p:cNvPr id="34" name="Textfeld 33"/>
          <p:cNvSpPr txBox="1"/>
          <p:nvPr/>
        </p:nvSpPr>
        <p:spPr>
          <a:xfrm>
            <a:off x="9150814" y="-92546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 dirty="0"/>
              <a:t>Start Header</a:t>
            </a:r>
          </a:p>
        </p:txBody>
      </p:sp>
      <p:sp>
        <p:nvSpPr>
          <p:cNvPr id="35" name="Textfeld 34"/>
          <p:cNvSpPr txBox="1"/>
          <p:nvPr/>
        </p:nvSpPr>
        <p:spPr>
          <a:xfrm>
            <a:off x="9150814" y="591586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 dirty="0"/>
              <a:t>Ende Header</a:t>
            </a:r>
          </a:p>
        </p:txBody>
      </p:sp>
      <p:sp>
        <p:nvSpPr>
          <p:cNvPr id="36" name="Textfeld 35"/>
          <p:cNvSpPr txBox="1"/>
          <p:nvPr/>
        </p:nvSpPr>
        <p:spPr>
          <a:xfrm>
            <a:off x="9150814" y="775706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 dirty="0"/>
              <a:t>Start Content</a:t>
            </a:r>
          </a:p>
        </p:txBody>
      </p:sp>
      <p:sp>
        <p:nvSpPr>
          <p:cNvPr id="38" name="Textfeld 37"/>
          <p:cNvSpPr txBox="1"/>
          <p:nvPr/>
        </p:nvSpPr>
        <p:spPr>
          <a:xfrm>
            <a:off x="9150814" y="2419026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 dirty="0"/>
              <a:t>Mittellinie</a:t>
            </a:r>
          </a:p>
        </p:txBody>
      </p:sp>
      <p:sp>
        <p:nvSpPr>
          <p:cNvPr id="39" name="Textfeld 38"/>
          <p:cNvSpPr txBox="1"/>
          <p:nvPr/>
        </p:nvSpPr>
        <p:spPr>
          <a:xfrm>
            <a:off x="9150814" y="4416382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 dirty="0"/>
              <a:t>Ende Content</a:t>
            </a:r>
          </a:p>
        </p:txBody>
      </p:sp>
      <p:sp>
        <p:nvSpPr>
          <p:cNvPr id="40" name="Textfeld 39"/>
          <p:cNvSpPr txBox="1"/>
          <p:nvPr/>
        </p:nvSpPr>
        <p:spPr>
          <a:xfrm>
            <a:off x="9150814" y="4584583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 dirty="0"/>
              <a:t>Start Foooter</a:t>
            </a:r>
          </a:p>
        </p:txBody>
      </p:sp>
      <p:sp>
        <p:nvSpPr>
          <p:cNvPr id="41" name="Textfeld 40"/>
          <p:cNvSpPr txBox="1"/>
          <p:nvPr/>
        </p:nvSpPr>
        <p:spPr>
          <a:xfrm>
            <a:off x="9150814" y="4801513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 dirty="0"/>
              <a:t>Weißer Rand unten</a:t>
            </a:r>
          </a:p>
        </p:txBody>
      </p:sp>
      <p:sp>
        <p:nvSpPr>
          <p:cNvPr id="51" name="Textfeld 50"/>
          <p:cNvSpPr txBox="1"/>
          <p:nvPr/>
        </p:nvSpPr>
        <p:spPr>
          <a:xfrm rot="16200000">
            <a:off x="7130780" y="-554998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 dirty="0"/>
              <a:t>Logo Start</a:t>
            </a:r>
          </a:p>
        </p:txBody>
      </p:sp>
      <p:sp>
        <p:nvSpPr>
          <p:cNvPr id="52" name="Textfeld 51"/>
          <p:cNvSpPr txBox="1"/>
          <p:nvPr/>
        </p:nvSpPr>
        <p:spPr>
          <a:xfrm rot="16200000">
            <a:off x="8222296" y="-554999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 dirty="0"/>
              <a:t>Logo Ende</a:t>
            </a:r>
          </a:p>
        </p:txBody>
      </p:sp>
      <p:sp>
        <p:nvSpPr>
          <p:cNvPr id="53" name="Textfeld 52"/>
          <p:cNvSpPr txBox="1"/>
          <p:nvPr/>
        </p:nvSpPr>
        <p:spPr>
          <a:xfrm>
            <a:off x="-1902870" y="263755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500" dirty="0"/>
              <a:t>Dunkel</a:t>
            </a:r>
          </a:p>
        </p:txBody>
      </p:sp>
      <p:sp>
        <p:nvSpPr>
          <p:cNvPr id="54" name="Textfeld 53"/>
          <p:cNvSpPr txBox="1"/>
          <p:nvPr/>
        </p:nvSpPr>
        <p:spPr>
          <a:xfrm>
            <a:off x="-1836712" y="892931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500" dirty="0"/>
              <a:t>Hell</a:t>
            </a:r>
          </a:p>
        </p:txBody>
      </p:sp>
      <p:sp>
        <p:nvSpPr>
          <p:cNvPr id="55" name="Textfeld 54"/>
          <p:cNvSpPr txBox="1"/>
          <p:nvPr/>
        </p:nvSpPr>
        <p:spPr>
          <a:xfrm>
            <a:off x="-1902870" y="1537804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500" dirty="0"/>
              <a:t>Schrift</a:t>
            </a:r>
          </a:p>
        </p:txBody>
      </p:sp>
      <p:sp>
        <p:nvSpPr>
          <p:cNvPr id="59" name="Textfeld 58"/>
          <p:cNvSpPr txBox="1"/>
          <p:nvPr/>
        </p:nvSpPr>
        <p:spPr>
          <a:xfrm>
            <a:off x="-1902870" y="2185876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500" dirty="0"/>
              <a:t>Akzent 2</a:t>
            </a:r>
          </a:p>
        </p:txBody>
      </p:sp>
      <p:sp>
        <p:nvSpPr>
          <p:cNvPr id="60" name="Textfeld 59"/>
          <p:cNvSpPr txBox="1"/>
          <p:nvPr/>
        </p:nvSpPr>
        <p:spPr>
          <a:xfrm>
            <a:off x="-1902870" y="2833396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500" dirty="0"/>
              <a:t>Akzent 3</a:t>
            </a:r>
          </a:p>
        </p:txBody>
      </p:sp>
      <p:sp>
        <p:nvSpPr>
          <p:cNvPr id="62" name="Textfeld 61"/>
          <p:cNvSpPr txBox="1"/>
          <p:nvPr/>
        </p:nvSpPr>
        <p:spPr>
          <a:xfrm>
            <a:off x="-1902870" y="3462139"/>
            <a:ext cx="8995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500" dirty="0"/>
              <a:t>Akzent 4 / besuchter Hyperlink</a:t>
            </a:r>
          </a:p>
        </p:txBody>
      </p:sp>
      <p:sp>
        <p:nvSpPr>
          <p:cNvPr id="68" name="Textfeld 67"/>
          <p:cNvSpPr txBox="1"/>
          <p:nvPr/>
        </p:nvSpPr>
        <p:spPr>
          <a:xfrm>
            <a:off x="-1902870" y="4081292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500" dirty="0"/>
              <a:t>Akzent 5</a:t>
            </a:r>
          </a:p>
        </p:txBody>
      </p:sp>
      <p:sp>
        <p:nvSpPr>
          <p:cNvPr id="69" name="Textfeld 68"/>
          <p:cNvSpPr txBox="1"/>
          <p:nvPr/>
        </p:nvSpPr>
        <p:spPr>
          <a:xfrm>
            <a:off x="-1902870" y="4716874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500" dirty="0"/>
              <a:t>Akzent 6</a:t>
            </a:r>
          </a:p>
        </p:txBody>
      </p:sp>
      <p:sp>
        <p:nvSpPr>
          <p:cNvPr id="72" name="Datumsplatzhalter 1"/>
          <p:cNvSpPr>
            <a:spLocks noGrp="1"/>
          </p:cNvSpPr>
          <p:nvPr>
            <p:ph type="dt" sz="half" idx="2"/>
          </p:nvPr>
        </p:nvSpPr>
        <p:spPr>
          <a:xfrm>
            <a:off x="475655" y="4729006"/>
            <a:ext cx="566935" cy="27463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de-DE" sz="800" smtClean="0">
                <a:solidFill>
                  <a:srgbClr val="4C586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226"/>
            <a:r>
              <a:rPr lang="de-DE" dirty="0"/>
              <a:t>08.06.2015</a:t>
            </a:r>
          </a:p>
        </p:txBody>
      </p:sp>
      <p:sp>
        <p:nvSpPr>
          <p:cNvPr id="73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1038882" y="4729006"/>
            <a:ext cx="2895600" cy="27463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de-DE" sz="8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226"/>
            <a:endParaRPr lang="de-DE" dirty="0"/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42E84C75-39DA-45C3-8B21-2C2A2FA71D72}"/>
              </a:ext>
            </a:extLst>
          </p:cNvPr>
          <p:cNvSpPr txBox="1"/>
          <p:nvPr userDrawn="1"/>
        </p:nvSpPr>
        <p:spPr bwMode="white">
          <a:xfrm>
            <a:off x="7380312" y="4768807"/>
            <a:ext cx="1512168" cy="17943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2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800" dirty="0">
                <a:solidFill>
                  <a:schemeClr val="accent6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Seite </a:t>
            </a:r>
            <a:fld id="{A0607A0B-DD2B-40EB-9731-1AA75C8DC82B}" type="slidenum">
              <a:rPr lang="de-DE" sz="800" smtClean="0">
                <a:solidFill>
                  <a:schemeClr val="accent6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‹#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9" r:id="rId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rgbClr val="003D7B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600" kern="1200">
          <a:solidFill>
            <a:srgbClr val="7390C4"/>
          </a:solidFill>
          <a:latin typeface="+mj-lt"/>
          <a:ea typeface="+mn-ea"/>
          <a:cs typeface="+mn-cs"/>
        </a:defRPr>
      </a:lvl1pPr>
      <a:lvl2pPr marL="457200" indent="0" algn="l" defTabSz="914400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rgbClr val="7390C4"/>
          </a:solidFill>
          <a:latin typeface="+mj-lt"/>
          <a:ea typeface="+mn-ea"/>
          <a:cs typeface="+mn-cs"/>
        </a:defRPr>
      </a:lvl2pPr>
      <a:lvl3pPr marL="914400" indent="0" algn="l" defTabSz="914400" rtl="0" eaLnBrk="1" latinLnBrk="0" hangingPunct="1">
        <a:spcBef>
          <a:spcPct val="20000"/>
        </a:spcBef>
        <a:buFont typeface="Arial" pitchFamily="34" charset="0"/>
        <a:buNone/>
        <a:defRPr sz="1800" kern="1200">
          <a:solidFill>
            <a:srgbClr val="7390C4"/>
          </a:solidFill>
          <a:latin typeface="+mj-lt"/>
          <a:ea typeface="+mn-ea"/>
          <a:cs typeface="+mn-cs"/>
        </a:defRPr>
      </a:lvl3pPr>
      <a:lvl4pPr marL="1371600" indent="0" algn="l" defTabSz="914400" rtl="0" eaLnBrk="1" latinLnBrk="0" hangingPunct="1">
        <a:spcBef>
          <a:spcPct val="20000"/>
        </a:spcBef>
        <a:buFont typeface="Arial" pitchFamily="34" charset="0"/>
        <a:buNone/>
        <a:defRPr sz="1600" kern="1200">
          <a:solidFill>
            <a:srgbClr val="7390C4"/>
          </a:solidFill>
          <a:latin typeface="+mj-lt"/>
          <a:ea typeface="+mn-ea"/>
          <a:cs typeface="+mn-cs"/>
        </a:defRPr>
      </a:lvl4pPr>
      <a:lvl5pPr marL="1828800" indent="0" algn="l" defTabSz="914400" rtl="0" eaLnBrk="1" latinLnBrk="0" hangingPunct="1">
        <a:spcBef>
          <a:spcPct val="20000"/>
        </a:spcBef>
        <a:buFont typeface="Arial" pitchFamily="34" charset="0"/>
        <a:buNone/>
        <a:defRPr sz="1600" kern="1200">
          <a:solidFill>
            <a:srgbClr val="7390C4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svg"/><Relationship Id="rId3" Type="http://schemas.openxmlformats.org/officeDocument/2006/relationships/image" Target="../media/image6.svg"/><Relationship Id="rId7" Type="http://schemas.openxmlformats.org/officeDocument/2006/relationships/image" Target="../media/image10.svg"/><Relationship Id="rId12" Type="http://schemas.openxmlformats.org/officeDocument/2006/relationships/image" Target="../media/image15.png"/><Relationship Id="rId17" Type="http://schemas.openxmlformats.org/officeDocument/2006/relationships/image" Target="../media/image20.svg"/><Relationship Id="rId2" Type="http://schemas.openxmlformats.org/officeDocument/2006/relationships/image" Target="../media/image5.png"/><Relationship Id="rId16" Type="http://schemas.openxmlformats.org/officeDocument/2006/relationships/image" Target="../media/image1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11" Type="http://schemas.openxmlformats.org/officeDocument/2006/relationships/image" Target="../media/image14.svg"/><Relationship Id="rId5" Type="http://schemas.openxmlformats.org/officeDocument/2006/relationships/image" Target="../media/image8.svg"/><Relationship Id="rId15" Type="http://schemas.openxmlformats.org/officeDocument/2006/relationships/image" Target="../media/image18.sv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svg"/><Relationship Id="rId14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alladio-consulting.de/" TargetMode="External"/><Relationship Id="rId2" Type="http://schemas.openxmlformats.org/officeDocument/2006/relationships/hyperlink" Target="mailto:t.smuda@palladio-consulting.de" TargetMode="Externa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02C7D4D-AF45-4F41-947C-0A3E341D8A8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6374" y="0"/>
            <a:ext cx="9170373" cy="5143500"/>
          </a:xfrm>
          <a:prstGeom prst="rect">
            <a:avLst/>
          </a:prstGeom>
        </p:spPr>
      </p:pic>
      <p:sp>
        <p:nvSpPr>
          <p:cNvPr id="12" name="Rechteck 1">
            <a:extLst>
              <a:ext uri="{FF2B5EF4-FFF2-40B4-BE49-F238E27FC236}">
                <a16:creationId xmlns:a16="http://schemas.microsoft.com/office/drawing/2014/main" id="{32EF9AB9-F3CC-6340-AFA5-FD80FF545825}"/>
              </a:ext>
            </a:extLst>
          </p:cNvPr>
          <p:cNvSpPr/>
          <p:nvPr/>
        </p:nvSpPr>
        <p:spPr>
          <a:xfrm>
            <a:off x="-34649" y="0"/>
            <a:ext cx="9159694" cy="5143500"/>
          </a:xfrm>
          <a:prstGeom prst="rect">
            <a:avLst/>
          </a:prstGeom>
          <a:solidFill>
            <a:schemeClr val="bg1">
              <a:alpha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Rechteck 4">
            <a:extLst>
              <a:ext uri="{FF2B5EF4-FFF2-40B4-BE49-F238E27FC236}">
                <a16:creationId xmlns:a16="http://schemas.microsoft.com/office/drawing/2014/main" id="{A7BE49FE-EFD3-864D-8CE2-75132BE98557}"/>
              </a:ext>
            </a:extLst>
          </p:cNvPr>
          <p:cNvSpPr/>
          <p:nvPr/>
        </p:nvSpPr>
        <p:spPr>
          <a:xfrm>
            <a:off x="-5185" y="3336030"/>
            <a:ext cx="9144000" cy="1404344"/>
          </a:xfrm>
          <a:prstGeom prst="rect">
            <a:avLst/>
          </a:prstGeom>
          <a:solidFill>
            <a:srgbClr val="3F98A6">
              <a:alpha val="85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600" b="1" dirty="0"/>
          </a:p>
        </p:txBody>
      </p:sp>
      <p:pic>
        <p:nvPicPr>
          <p:cNvPr id="15" name="Grafik 6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10EEA0E8-2442-4648-BD4C-4664942A584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94438" y="75848"/>
            <a:ext cx="1695450" cy="579824"/>
          </a:xfrm>
          <a:prstGeom prst="rect">
            <a:avLst/>
          </a:prstGeom>
        </p:spPr>
      </p:pic>
      <p:sp>
        <p:nvSpPr>
          <p:cNvPr id="16" name="Textfeld 7">
            <a:extLst>
              <a:ext uri="{FF2B5EF4-FFF2-40B4-BE49-F238E27FC236}">
                <a16:creationId xmlns:a16="http://schemas.microsoft.com/office/drawing/2014/main" id="{B6283CED-F12B-D640-B69C-31DCB8F74681}"/>
              </a:ext>
            </a:extLst>
          </p:cNvPr>
          <p:cNvSpPr txBox="1"/>
          <p:nvPr/>
        </p:nvSpPr>
        <p:spPr>
          <a:xfrm>
            <a:off x="102319" y="3324602"/>
            <a:ext cx="8135560" cy="141577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en-AU" sz="3000" b="1" dirty="0">
                <a:solidFill>
                  <a:schemeClr val="bg1"/>
                </a:solidFill>
              </a:rPr>
              <a:t>Business Process Management</a:t>
            </a:r>
          </a:p>
          <a:p>
            <a:pPr lvl="0"/>
            <a:r>
              <a:rPr lang="de-DE" sz="2000" b="1" dirty="0">
                <a:solidFill>
                  <a:schemeClr val="bg1"/>
                </a:solidFill>
              </a:rPr>
              <a:t>AKV Profil + RACI Matrix: Zuständigkeiten verbindlich festzurren </a:t>
            </a:r>
          </a:p>
          <a:p>
            <a:pPr lvl="0"/>
            <a:endParaRPr lang="de-DE" sz="2000" b="1" dirty="0">
              <a:solidFill>
                <a:schemeClr val="bg1"/>
              </a:solidFill>
            </a:endParaRPr>
          </a:p>
          <a:p>
            <a:pPr lvl="0"/>
            <a:r>
              <a:rPr lang="de-DE" sz="1600" b="1" dirty="0">
                <a:solidFill>
                  <a:schemeClr val="bg1"/>
                </a:solidFill>
              </a:rPr>
              <a:t>Tobias Smuda</a:t>
            </a:r>
          </a:p>
        </p:txBody>
      </p:sp>
    </p:spTree>
    <p:extLst>
      <p:ext uri="{BB962C8B-B14F-4D97-AF65-F5344CB8AC3E}">
        <p14:creationId xmlns:p14="http://schemas.microsoft.com/office/powerpoint/2010/main" val="32090560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8C5A50-1913-4507-988E-B3319E4590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AKV Profil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F0B0340-28DE-4C04-BA5A-1EB9C2F078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de-DE" dirty="0"/>
              <a:t>Alle Tätigkeiten, Fähigkeiten und Pflichten einer Rolle</a:t>
            </a:r>
          </a:p>
        </p:txBody>
      </p:sp>
      <p:graphicFrame>
        <p:nvGraphicFramePr>
          <p:cNvPr id="55" name="Tabelle 1">
            <a:extLst>
              <a:ext uri="{FF2B5EF4-FFF2-40B4-BE49-F238E27FC236}">
                <a16:creationId xmlns:a16="http://schemas.microsoft.com/office/drawing/2014/main" id="{28AD745B-4B79-5E41-BAE0-1CEC30A7BF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843586"/>
              </p:ext>
            </p:extLst>
          </p:nvPr>
        </p:nvGraphicFramePr>
        <p:xfrm>
          <a:off x="323528" y="843559"/>
          <a:ext cx="8424936" cy="2844767"/>
        </p:xfrm>
        <a:graphic>
          <a:graphicData uri="http://schemas.openxmlformats.org/drawingml/2006/table">
            <a:tbl>
              <a:tblPr firstRow="1" bandRow="1"/>
              <a:tblGrid>
                <a:gridCol w="1117752">
                  <a:extLst>
                    <a:ext uri="{9D8B030D-6E8A-4147-A177-3AD203B41FA5}">
                      <a16:colId xmlns:a16="http://schemas.microsoft.com/office/drawing/2014/main" val="3354713585"/>
                    </a:ext>
                  </a:extLst>
                </a:gridCol>
                <a:gridCol w="1690560">
                  <a:extLst>
                    <a:ext uri="{9D8B030D-6E8A-4147-A177-3AD203B41FA5}">
                      <a16:colId xmlns:a16="http://schemas.microsoft.com/office/drawing/2014/main" val="3673428661"/>
                    </a:ext>
                  </a:extLst>
                </a:gridCol>
                <a:gridCol w="2808312">
                  <a:extLst>
                    <a:ext uri="{9D8B030D-6E8A-4147-A177-3AD203B41FA5}">
                      <a16:colId xmlns:a16="http://schemas.microsoft.com/office/drawing/2014/main" val="28079722"/>
                    </a:ext>
                  </a:extLst>
                </a:gridCol>
                <a:gridCol w="2808312">
                  <a:extLst>
                    <a:ext uri="{9D8B030D-6E8A-4147-A177-3AD203B41FA5}">
                      <a16:colId xmlns:a16="http://schemas.microsoft.com/office/drawing/2014/main" val="2471974669"/>
                    </a:ext>
                  </a:extLst>
                </a:gridCol>
              </a:tblGrid>
              <a:tr h="216541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200" u="sng" dirty="0">
                          <a:latin typeface="+mn-lt"/>
                        </a:rPr>
                        <a:t>A</a:t>
                      </a:r>
                      <a:r>
                        <a:rPr lang="de-DE" sz="1200" dirty="0">
                          <a:latin typeface="+mn-lt"/>
                        </a:rPr>
                        <a:t>ufgaben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98A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98A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200" u="sng" dirty="0">
                          <a:latin typeface="+mn-lt"/>
                        </a:rPr>
                        <a:t>K</a:t>
                      </a:r>
                      <a:r>
                        <a:rPr lang="de-DE" sz="1200" dirty="0">
                          <a:latin typeface="+mn-lt"/>
                        </a:rPr>
                        <a:t>ompetenzen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98A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200" u="sng" dirty="0">
                          <a:latin typeface="+mn-lt"/>
                        </a:rPr>
                        <a:t>V</a:t>
                      </a:r>
                      <a:r>
                        <a:rPr lang="de-DE" sz="1200" dirty="0">
                          <a:latin typeface="+mn-lt"/>
                        </a:rPr>
                        <a:t>erantwortung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98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3265102"/>
                  </a:ext>
                </a:extLst>
              </a:tr>
              <a:tr h="2196000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185738" marR="0" lvl="0" indent="-1857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</a:rPr>
                        <a:t>Welche </a:t>
                      </a:r>
                      <a:r>
                        <a:rPr lang="de-DE" sz="1200" u="sng" dirty="0">
                          <a:solidFill>
                            <a:schemeClr val="accent6"/>
                          </a:solidFill>
                          <a:latin typeface="+mn-lt"/>
                        </a:rPr>
                        <a:t>Tätigkeiten</a:t>
                      </a:r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</a:rPr>
                        <a:t> erledigt die Rolle im Unternehmen wiederkehrend?</a:t>
                      </a:r>
                    </a:p>
                    <a:p>
                      <a:pPr marL="185738" marR="0" lvl="0" indent="-1857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de-DE" sz="1200" dirty="0">
                        <a:solidFill>
                          <a:schemeClr val="accent6"/>
                        </a:solidFill>
                        <a:latin typeface="+mn-lt"/>
                      </a:endParaRPr>
                    </a:p>
                    <a:p>
                      <a:pPr marL="185738" marR="0" lvl="0" indent="-1857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</a:rPr>
                        <a:t>Welches </a:t>
                      </a:r>
                      <a:r>
                        <a:rPr lang="de-DE" sz="1200" u="sng" dirty="0">
                          <a:solidFill>
                            <a:schemeClr val="accent6"/>
                          </a:solidFill>
                          <a:latin typeface="+mn-lt"/>
                        </a:rPr>
                        <a:t>Ergebnisse</a:t>
                      </a:r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</a:rPr>
                        <a:t> soll die Rolle mit den Tätigkeiten erzielen?</a:t>
                      </a:r>
                    </a:p>
                    <a:p>
                      <a:pPr marL="185738" marR="0" lvl="0" indent="-1857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de-DE" sz="1200" dirty="0">
                        <a:solidFill>
                          <a:schemeClr val="accent6"/>
                        </a:solidFill>
                        <a:latin typeface="+mn-lt"/>
                      </a:endParaRPr>
                    </a:p>
                    <a:p>
                      <a:pPr marL="185738" marR="0" lvl="0" indent="-1857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</a:rPr>
                        <a:t>Welche </a:t>
                      </a:r>
                      <a:r>
                        <a:rPr lang="de-DE" sz="1200" u="sng" dirty="0">
                          <a:solidFill>
                            <a:schemeClr val="accent6"/>
                          </a:solidFill>
                          <a:latin typeface="+mn-lt"/>
                        </a:rPr>
                        <a:t>ToDos</a:t>
                      </a:r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</a:rPr>
                        <a:t> erledigt eine Rolle, um ihre Ziele zu erreichen?</a:t>
                      </a:r>
                    </a:p>
                    <a:p>
                      <a:pPr marL="185738" marR="0" lvl="0" indent="-1857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de-DE" sz="1200" dirty="0">
                        <a:solidFill>
                          <a:schemeClr val="accent6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185738" indent="-185738">
                        <a:buFont typeface="Wingdings" panose="05000000000000000000" pitchFamily="2" charset="2"/>
                        <a:buChar char="§"/>
                        <a:tabLst/>
                      </a:pPr>
                      <a:endParaRPr lang="de-DE" sz="1200" dirty="0">
                        <a:solidFill>
                          <a:schemeClr val="accent6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185738" indent="-185738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</a:rPr>
                        <a:t>Welche </a:t>
                      </a:r>
                      <a:r>
                        <a:rPr lang="de-DE" sz="1200" u="sng" dirty="0">
                          <a:solidFill>
                            <a:schemeClr val="accent6"/>
                          </a:solidFill>
                          <a:latin typeface="+mn-lt"/>
                        </a:rPr>
                        <a:t>Berechtigungen</a:t>
                      </a:r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</a:rPr>
                        <a:t> benötigt die Rolle, um die  Tätigkeiten auszuführen?</a:t>
                      </a:r>
                    </a:p>
                    <a:p>
                      <a:pPr marL="185738" indent="-185738">
                        <a:buFont typeface="Wingdings" panose="05000000000000000000" pitchFamily="2" charset="2"/>
                        <a:buChar char="§"/>
                        <a:tabLst/>
                      </a:pPr>
                      <a:endParaRPr lang="de-DE" sz="1200" dirty="0">
                        <a:solidFill>
                          <a:schemeClr val="accent6"/>
                        </a:solidFill>
                        <a:latin typeface="+mn-lt"/>
                      </a:endParaRPr>
                    </a:p>
                    <a:p>
                      <a:pPr marL="185738" indent="-185738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</a:rPr>
                        <a:t>Welche </a:t>
                      </a:r>
                      <a:r>
                        <a:rPr lang="de-DE" sz="1200" u="sng" dirty="0">
                          <a:solidFill>
                            <a:schemeClr val="accent6"/>
                          </a:solidFill>
                          <a:latin typeface="+mn-lt"/>
                        </a:rPr>
                        <a:t>Ressourcen</a:t>
                      </a:r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</a:rPr>
                        <a:t> müssen für die Rolle existieren, um das Ergebnis zu erreichen?</a:t>
                      </a:r>
                    </a:p>
                    <a:p>
                      <a:pPr marL="185738" indent="-185738">
                        <a:buFont typeface="Wingdings" panose="05000000000000000000" pitchFamily="2" charset="2"/>
                        <a:buChar char="§"/>
                        <a:tabLst/>
                      </a:pPr>
                      <a:endParaRPr lang="de-DE" sz="1200" dirty="0">
                        <a:solidFill>
                          <a:schemeClr val="accent6"/>
                        </a:solidFill>
                        <a:latin typeface="+mn-lt"/>
                      </a:endParaRPr>
                    </a:p>
                    <a:p>
                      <a:pPr marL="185738" indent="-185738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</a:rPr>
                        <a:t>Welches </a:t>
                      </a:r>
                      <a:r>
                        <a:rPr lang="de-DE" sz="1200" u="sng" dirty="0">
                          <a:solidFill>
                            <a:schemeClr val="accent6"/>
                          </a:solidFill>
                          <a:latin typeface="+mn-lt"/>
                        </a:rPr>
                        <a:t>Mandat</a:t>
                      </a:r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</a:rPr>
                        <a:t> muss die Rolle besitzen, um die  Aufgaben wahrzunehmen?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185738" indent="-185738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</a:rPr>
                        <a:t>Welche </a:t>
                      </a:r>
                      <a:r>
                        <a:rPr lang="de-DE" sz="1200" u="sng" dirty="0">
                          <a:solidFill>
                            <a:schemeClr val="accent6"/>
                          </a:solidFill>
                          <a:latin typeface="+mn-lt"/>
                        </a:rPr>
                        <a:t>Pflichten</a:t>
                      </a:r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</a:rPr>
                        <a:t> sind für die Rolle mit der Erfüllung der Aufgabe verbunden?</a:t>
                      </a:r>
                    </a:p>
                    <a:p>
                      <a:pPr marL="185738" indent="-185738">
                        <a:buFont typeface="Wingdings" panose="05000000000000000000" pitchFamily="2" charset="2"/>
                        <a:buChar char="§"/>
                        <a:tabLst/>
                      </a:pPr>
                      <a:endParaRPr lang="de-DE" sz="1200" dirty="0">
                        <a:solidFill>
                          <a:schemeClr val="accent6"/>
                        </a:solidFill>
                        <a:latin typeface="+mn-lt"/>
                      </a:endParaRPr>
                    </a:p>
                    <a:p>
                      <a:pPr marL="185738" indent="-185738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</a:rPr>
                        <a:t>Für welche Ergebnisse und Abläufe etc. besitzt die Rolle </a:t>
                      </a:r>
                      <a:r>
                        <a:rPr lang="de-DE" sz="1200" u="sng" dirty="0">
                          <a:solidFill>
                            <a:schemeClr val="accent6"/>
                          </a:solidFill>
                          <a:latin typeface="+mn-lt"/>
                        </a:rPr>
                        <a:t>Rechenschaftspflicht</a:t>
                      </a:r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</a:rPr>
                        <a:t>?</a:t>
                      </a:r>
                    </a:p>
                    <a:p>
                      <a:pPr marL="185738" indent="-185738">
                        <a:buFont typeface="Wingdings" panose="05000000000000000000" pitchFamily="2" charset="2"/>
                        <a:buChar char="§"/>
                        <a:tabLst/>
                      </a:pPr>
                      <a:endParaRPr lang="de-DE" sz="1200" dirty="0">
                        <a:solidFill>
                          <a:schemeClr val="accent6"/>
                        </a:solidFill>
                        <a:latin typeface="+mn-lt"/>
                      </a:endParaRPr>
                    </a:p>
                    <a:p>
                      <a:pPr marL="185738" indent="-185738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</a:rPr>
                        <a:t>Woran wird der </a:t>
                      </a:r>
                      <a:r>
                        <a:rPr lang="de-DE" sz="1200" u="sng" dirty="0">
                          <a:solidFill>
                            <a:schemeClr val="accent6"/>
                          </a:solidFill>
                          <a:latin typeface="+mn-lt"/>
                        </a:rPr>
                        <a:t>Erfolg</a:t>
                      </a:r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</a:rPr>
                        <a:t> der Rolle gemessen bzw. anerkannt?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4783806"/>
                  </a:ext>
                </a:extLst>
              </a:tr>
              <a:tr h="397307">
                <a:tc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  <a:tabLst/>
                      </a:pPr>
                      <a:r>
                        <a:rPr lang="de-DE" sz="1200" b="1" dirty="0">
                          <a:solidFill>
                            <a:schemeClr val="bg1"/>
                          </a:solidFill>
                          <a:latin typeface="+mn-lt"/>
                          <a:cs typeface="Calibri" panose="020F0502020204030204" pitchFamily="34" charset="0"/>
                        </a:rPr>
                        <a:t>Mission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98A6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171450" marR="0" lvl="0" indent="-17145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Ø"/>
                        <a:tabLst/>
                        <a:defRPr/>
                      </a:pPr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</a:rPr>
                        <a:t>Worin besteht das </a:t>
                      </a:r>
                      <a:r>
                        <a:rPr lang="de-DE" sz="1200" u="sng" dirty="0">
                          <a:solidFill>
                            <a:schemeClr val="accent6"/>
                          </a:solidFill>
                          <a:latin typeface="+mn-lt"/>
                        </a:rPr>
                        <a:t>Hauptziel</a:t>
                      </a:r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</a:rPr>
                        <a:t> der Rolle?.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185738" indent="-185738">
                        <a:buFont typeface="Wingdings" panose="05000000000000000000" pitchFamily="2" charset="2"/>
                        <a:buChar char="§"/>
                        <a:tabLst/>
                      </a:pPr>
                      <a:endParaRPr lang="de-DE" sz="1200" dirty="0">
                        <a:solidFill>
                          <a:schemeClr val="accent6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185738" indent="-185738">
                        <a:buFont typeface="Wingdings" panose="05000000000000000000" pitchFamily="2" charset="2"/>
                        <a:buChar char="§"/>
                        <a:tabLst/>
                      </a:pPr>
                      <a:endParaRPr lang="de-DE" sz="1200" dirty="0">
                        <a:solidFill>
                          <a:schemeClr val="accent6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9387938"/>
                  </a:ext>
                </a:extLst>
              </a:tr>
            </a:tbl>
          </a:graphicData>
        </a:graphic>
      </p:graphicFrame>
      <p:pic>
        <p:nvPicPr>
          <p:cNvPr id="7" name="Graphic 6" descr="Head with gears">
            <a:extLst>
              <a:ext uri="{FF2B5EF4-FFF2-40B4-BE49-F238E27FC236}">
                <a16:creationId xmlns:a16="http://schemas.microsoft.com/office/drawing/2014/main" id="{B24540CC-17CD-BE43-B761-6476459B3FF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66911" y="843559"/>
            <a:ext cx="270000" cy="270000"/>
          </a:xfrm>
          <a:prstGeom prst="rect">
            <a:avLst/>
          </a:prstGeom>
        </p:spPr>
      </p:pic>
      <p:pic>
        <p:nvPicPr>
          <p:cNvPr id="9" name="Graphic 8" descr="checklist_ltr">
            <a:extLst>
              <a:ext uri="{FF2B5EF4-FFF2-40B4-BE49-F238E27FC236}">
                <a16:creationId xmlns:a16="http://schemas.microsoft.com/office/drawing/2014/main" id="{8C617DAA-6CCE-F24B-A06E-C01CC3FAAD1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771800" y="843559"/>
            <a:ext cx="270000" cy="270000"/>
          </a:xfrm>
          <a:prstGeom prst="rect">
            <a:avLst/>
          </a:prstGeom>
        </p:spPr>
      </p:pic>
      <p:pic>
        <p:nvPicPr>
          <p:cNvPr id="56" name="Graphic 55" descr="Bullseye">
            <a:extLst>
              <a:ext uri="{FF2B5EF4-FFF2-40B4-BE49-F238E27FC236}">
                <a16:creationId xmlns:a16="http://schemas.microsoft.com/office/drawing/2014/main" id="{F2950237-3A3D-2B4F-9C88-40949DCECD2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51098" y="3387042"/>
            <a:ext cx="270000" cy="270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073CBF1-6ED9-C044-B0A3-A75813C07F3A}"/>
              </a:ext>
            </a:extLst>
          </p:cNvPr>
          <p:cNvSpPr txBox="1"/>
          <p:nvPr/>
        </p:nvSpPr>
        <p:spPr>
          <a:xfrm>
            <a:off x="690819" y="4382983"/>
            <a:ext cx="14782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DE" sz="1200" dirty="0">
                <a:solidFill>
                  <a:schemeClr val="accent6"/>
                </a:solidFill>
                <a:cs typeface="Calibri" panose="020F0502020204030204" pitchFamily="34" charset="0"/>
              </a:rPr>
              <a:t>Stakeholdergruppe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9C2557AD-EA62-7347-99D7-C9BD9A819FE9}"/>
              </a:ext>
            </a:extLst>
          </p:cNvPr>
          <p:cNvSpPr txBox="1"/>
          <p:nvPr/>
        </p:nvSpPr>
        <p:spPr>
          <a:xfrm>
            <a:off x="2755600" y="4381065"/>
            <a:ext cx="11304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DE" sz="1200" dirty="0">
                <a:solidFill>
                  <a:schemeClr val="accent6"/>
                </a:solidFill>
                <a:cs typeface="Calibri" panose="020F0502020204030204" pitchFamily="34" charset="0"/>
              </a:rPr>
              <a:t>S</a:t>
            </a:r>
            <a:r>
              <a:rPr lang="en-GB" sz="1200" dirty="0">
                <a:solidFill>
                  <a:schemeClr val="accent6"/>
                </a:solidFill>
                <a:cs typeface="Calibri" panose="020F0502020204030204" pitchFamily="34" charset="0"/>
              </a:rPr>
              <a:t>t</a:t>
            </a:r>
            <a:r>
              <a:rPr lang="en-DE" sz="1200" dirty="0">
                <a:solidFill>
                  <a:schemeClr val="accent6"/>
                </a:solidFill>
                <a:cs typeface="Calibri" panose="020F0502020204030204" pitchFamily="34" charset="0"/>
              </a:rPr>
              <a:t>akeholder 1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ABD9F008-7465-7F4C-8EE5-61052DE4C74E}"/>
              </a:ext>
            </a:extLst>
          </p:cNvPr>
          <p:cNvSpPr txBox="1"/>
          <p:nvPr/>
        </p:nvSpPr>
        <p:spPr>
          <a:xfrm>
            <a:off x="4800345" y="4381064"/>
            <a:ext cx="11304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DE" sz="1200" dirty="0">
                <a:solidFill>
                  <a:schemeClr val="accent6"/>
                </a:solidFill>
                <a:cs typeface="Calibri" panose="020F0502020204030204" pitchFamily="34" charset="0"/>
              </a:rPr>
              <a:t>Stakeholder 2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A5E9A9EE-6972-3048-A28D-4C84B0E15E04}"/>
              </a:ext>
            </a:extLst>
          </p:cNvPr>
          <p:cNvSpPr txBox="1"/>
          <p:nvPr/>
        </p:nvSpPr>
        <p:spPr>
          <a:xfrm>
            <a:off x="6785551" y="4381063"/>
            <a:ext cx="11304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DE" sz="1200" dirty="0">
                <a:solidFill>
                  <a:schemeClr val="accent6"/>
                </a:solidFill>
                <a:cs typeface="Calibri" panose="020F0502020204030204" pitchFamily="34" charset="0"/>
              </a:rPr>
              <a:t>Stakeholder 3</a:t>
            </a:r>
          </a:p>
        </p:txBody>
      </p:sp>
      <p:pic>
        <p:nvPicPr>
          <p:cNvPr id="12" name="Graphic 11" descr="Group of men">
            <a:extLst>
              <a:ext uri="{FF2B5EF4-FFF2-40B4-BE49-F238E27FC236}">
                <a16:creationId xmlns:a16="http://schemas.microsoft.com/office/drawing/2014/main" id="{0FD342CB-0333-DF4F-83A7-84628271E3EB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08186" y="3869563"/>
            <a:ext cx="540000" cy="540000"/>
          </a:xfrm>
          <a:prstGeom prst="rect">
            <a:avLst/>
          </a:prstGeom>
        </p:spPr>
      </p:pic>
      <p:pic>
        <p:nvPicPr>
          <p:cNvPr id="16" name="Graphic 15" descr="Female Profile">
            <a:extLst>
              <a:ext uri="{FF2B5EF4-FFF2-40B4-BE49-F238E27FC236}">
                <a16:creationId xmlns:a16="http://schemas.microsoft.com/office/drawing/2014/main" id="{831D6680-7CD0-594C-9B39-C11EA5C91A54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138046" y="3870515"/>
            <a:ext cx="540000" cy="540000"/>
          </a:xfrm>
          <a:prstGeom prst="rect">
            <a:avLst/>
          </a:prstGeom>
        </p:spPr>
      </p:pic>
      <p:pic>
        <p:nvPicPr>
          <p:cNvPr id="18" name="Graphic 17" descr="School boy">
            <a:extLst>
              <a:ext uri="{FF2B5EF4-FFF2-40B4-BE49-F238E27FC236}">
                <a16:creationId xmlns:a16="http://schemas.microsoft.com/office/drawing/2014/main" id="{096B4451-5C5B-E94A-8D65-83C114065E47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078728" y="3869563"/>
            <a:ext cx="540000" cy="540000"/>
          </a:xfrm>
          <a:prstGeom prst="rect">
            <a:avLst/>
          </a:prstGeom>
        </p:spPr>
      </p:pic>
      <p:pic>
        <p:nvPicPr>
          <p:cNvPr id="20" name="Graphic 19" descr="Call centre">
            <a:extLst>
              <a:ext uri="{FF2B5EF4-FFF2-40B4-BE49-F238E27FC236}">
                <a16:creationId xmlns:a16="http://schemas.microsoft.com/office/drawing/2014/main" id="{72AAD3AF-D415-D942-83C4-5E06BF1272DD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050816" y="3869563"/>
            <a:ext cx="540000" cy="540000"/>
          </a:xfrm>
          <a:prstGeom prst="rect">
            <a:avLst/>
          </a:prstGeom>
        </p:spPr>
      </p:pic>
      <p:pic>
        <p:nvPicPr>
          <p:cNvPr id="6" name="Graphic 5" descr="Management">
            <a:extLst>
              <a:ext uri="{FF2B5EF4-FFF2-40B4-BE49-F238E27FC236}">
                <a16:creationId xmlns:a16="http://schemas.microsoft.com/office/drawing/2014/main" id="{69187660-15BE-8947-93E6-848C44C0ECD3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362022" y="843559"/>
            <a:ext cx="270000" cy="27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80663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8C5A50-1913-4507-988E-B3319E4590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RACI Matrix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F0B0340-28DE-4C04-BA5A-1EB9C2F078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de-DE" dirty="0"/>
              <a:t>Zuständigkeiten in einem Geschäftsprozess</a:t>
            </a:r>
          </a:p>
        </p:txBody>
      </p:sp>
      <p:graphicFrame>
        <p:nvGraphicFramePr>
          <p:cNvPr id="17" name="Tabelle 6">
            <a:extLst>
              <a:ext uri="{FF2B5EF4-FFF2-40B4-BE49-F238E27FC236}">
                <a16:creationId xmlns:a16="http://schemas.microsoft.com/office/drawing/2014/main" id="{8CF52504-E0F9-DC42-A052-C78E8612A2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6351086"/>
              </p:ext>
            </p:extLst>
          </p:nvPr>
        </p:nvGraphicFramePr>
        <p:xfrm>
          <a:off x="457200" y="1077006"/>
          <a:ext cx="8363272" cy="3059430"/>
        </p:xfrm>
        <a:graphic>
          <a:graphicData uri="http://schemas.openxmlformats.org/drawingml/2006/table">
            <a:tbl>
              <a:tblPr firstRow="1" bandRow="1"/>
              <a:tblGrid>
                <a:gridCol w="1450504">
                  <a:extLst>
                    <a:ext uri="{9D8B030D-6E8A-4147-A177-3AD203B41FA5}">
                      <a16:colId xmlns:a16="http://schemas.microsoft.com/office/drawing/2014/main" val="2100530550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val="301368637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val="3537514334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val="355491155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val="1007569871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val="3883676609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val="258260721"/>
                    </a:ext>
                  </a:extLst>
                </a:gridCol>
              </a:tblGrid>
              <a:tr h="2781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200" b="1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Prozess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98A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200" b="1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Rolle 1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98A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200" b="1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Rolle 2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98A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200" b="1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Rolle</a:t>
                      </a:r>
                      <a:r>
                        <a:rPr lang="de-DE" sz="1200" b="1" baseline="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 3</a:t>
                      </a:r>
                      <a:endParaRPr lang="de-DE" sz="1200" b="1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98A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200" b="1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Rolle 4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98A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200" b="1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98A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200" b="1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Rolle n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98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8694945"/>
                  </a:ext>
                </a:extLst>
              </a:tr>
              <a:tr h="2781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de-DE" sz="1200" b="1" dirty="0">
                          <a:solidFill>
                            <a:schemeClr val="accent6"/>
                          </a:solidFill>
                          <a:latin typeface="+mn-lt"/>
                          <a:cs typeface="Arial" panose="020B0604020202020204" pitchFamily="34" charset="0"/>
                        </a:rPr>
                        <a:t>Aktivität 1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  <a:cs typeface="Arial" panose="020B0604020202020204" pitchFamily="34" charset="0"/>
                        </a:rPr>
                        <a:t>A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  <a:cs typeface="Arial" panose="020B0604020202020204" pitchFamily="34" charset="0"/>
                        </a:rPr>
                        <a:t>R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  <a:cs typeface="Arial" panose="020B0604020202020204" pitchFamily="34" charset="0"/>
                        </a:rPr>
                        <a:t>I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  <a:cs typeface="Arial" panose="020B0604020202020204" pitchFamily="34" charset="0"/>
                        </a:rPr>
                        <a:t>I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accent6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accent6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9176860"/>
                  </a:ext>
                </a:extLst>
              </a:tr>
              <a:tr h="2781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de-DE" sz="1200" b="1" baseline="0" dirty="0">
                          <a:solidFill>
                            <a:schemeClr val="accent6"/>
                          </a:solidFill>
                          <a:latin typeface="+mn-lt"/>
                          <a:cs typeface="Arial" panose="020B0604020202020204" pitchFamily="34" charset="0"/>
                        </a:rPr>
                        <a:t>Aktivität 2</a:t>
                      </a:r>
                      <a:endParaRPr lang="de-DE" sz="1200" b="1" dirty="0">
                        <a:solidFill>
                          <a:schemeClr val="accent6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  <a:cs typeface="Arial" panose="020B0604020202020204" pitchFamily="34" charset="0"/>
                        </a:rPr>
                        <a:t>A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  <a:cs typeface="Arial" panose="020B0604020202020204" pitchFamily="34" charset="0"/>
                        </a:rPr>
                        <a:t>R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  <a:cs typeface="Arial" panose="020B0604020202020204" pitchFamily="34" charset="0"/>
                        </a:rPr>
                        <a:t>C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  <a:cs typeface="Arial" panose="020B0604020202020204" pitchFamily="34" charset="0"/>
                        </a:rPr>
                        <a:t>I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  <a:cs typeface="Arial" panose="020B0604020202020204" pitchFamily="34" charset="0"/>
                        </a:rPr>
                        <a:t>I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accent6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772320"/>
                  </a:ext>
                </a:extLst>
              </a:tr>
              <a:tr h="2781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de-DE" sz="1200" b="1" dirty="0">
                          <a:solidFill>
                            <a:schemeClr val="accent6"/>
                          </a:solidFill>
                          <a:latin typeface="+mn-lt"/>
                          <a:cs typeface="Arial" panose="020B0604020202020204" pitchFamily="34" charset="0"/>
                        </a:rPr>
                        <a:t>Aktivität 3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  <a:cs typeface="Arial" panose="020B0604020202020204" pitchFamily="34" charset="0"/>
                        </a:rPr>
                        <a:t>A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  <a:cs typeface="Arial" panose="020B0604020202020204" pitchFamily="34" charset="0"/>
                        </a:rPr>
                        <a:t>C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  <a:cs typeface="Arial" panose="020B0604020202020204" pitchFamily="34" charset="0"/>
                        </a:rPr>
                        <a:t>R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  <a:cs typeface="Arial" panose="020B0604020202020204" pitchFamily="34" charset="0"/>
                        </a:rPr>
                        <a:t>C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  <a:cs typeface="Arial" panose="020B0604020202020204" pitchFamily="34" charset="0"/>
                        </a:rPr>
                        <a:t>I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  <a:cs typeface="Arial" panose="020B0604020202020204" pitchFamily="34" charset="0"/>
                        </a:rPr>
                        <a:t>I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17888"/>
                  </a:ext>
                </a:extLst>
              </a:tr>
              <a:tr h="2781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de-DE" sz="1200" b="1" dirty="0">
                          <a:solidFill>
                            <a:schemeClr val="accent6"/>
                          </a:solidFill>
                          <a:latin typeface="+mn-lt"/>
                          <a:cs typeface="Arial" panose="020B0604020202020204" pitchFamily="34" charset="0"/>
                        </a:rPr>
                        <a:t>Aktivität 4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  <a:cs typeface="Arial" panose="020B0604020202020204" pitchFamily="34" charset="0"/>
                        </a:rPr>
                        <a:t>A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  <a:cs typeface="Arial" panose="020B0604020202020204" pitchFamily="34" charset="0"/>
                        </a:rPr>
                        <a:t>C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  <a:cs typeface="Arial" panose="020B0604020202020204" pitchFamily="34" charset="0"/>
                        </a:rPr>
                        <a:t>C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  <a:cs typeface="Arial" panose="020B0604020202020204" pitchFamily="34" charset="0"/>
                        </a:rPr>
                        <a:t>R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  <a:cs typeface="Arial" panose="020B0604020202020204" pitchFamily="34" charset="0"/>
                        </a:rPr>
                        <a:t>I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  <a:cs typeface="Arial" panose="020B0604020202020204" pitchFamily="34" charset="0"/>
                        </a:rPr>
                        <a:t>I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38258154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dirty="0">
                          <a:solidFill>
                            <a:schemeClr val="accent6"/>
                          </a:solidFill>
                          <a:latin typeface="+mn-lt"/>
                          <a:cs typeface="Arial" panose="020B0604020202020204" pitchFamily="34" charset="0"/>
                        </a:rPr>
                        <a:t>Aktivität 5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6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6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6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6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6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6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6006949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dirty="0">
                          <a:solidFill>
                            <a:schemeClr val="accent6"/>
                          </a:solidFill>
                          <a:latin typeface="+mn-lt"/>
                          <a:cs typeface="Arial" panose="020B0604020202020204" pitchFamily="34" charset="0"/>
                        </a:rPr>
                        <a:t>Aktivität 6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6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6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6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6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6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6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0436979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dirty="0">
                          <a:solidFill>
                            <a:schemeClr val="accent6"/>
                          </a:solidFill>
                          <a:latin typeface="+mn-lt"/>
                          <a:cs typeface="Arial" panose="020B0604020202020204" pitchFamily="34" charset="0"/>
                        </a:rPr>
                        <a:t>Aktivität 7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6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6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6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6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6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6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6994611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dirty="0">
                          <a:solidFill>
                            <a:schemeClr val="accent6"/>
                          </a:solidFill>
                          <a:latin typeface="+mn-lt"/>
                          <a:cs typeface="Arial" panose="020B0604020202020204" pitchFamily="34" charset="0"/>
                        </a:rPr>
                        <a:t>Aktivität 8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6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6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6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6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6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6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963455"/>
                  </a:ext>
                </a:extLst>
              </a:tr>
              <a:tr h="2781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de-DE" sz="1200" b="1" dirty="0">
                          <a:solidFill>
                            <a:schemeClr val="accent6"/>
                          </a:solidFill>
                          <a:latin typeface="+mn-lt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  <a:cs typeface="Arial" panose="020B0604020202020204" pitchFamily="34" charset="0"/>
                        </a:rPr>
                        <a:t>A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accent6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accent6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accent6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  <a:cs typeface="Arial" panose="020B0604020202020204" pitchFamily="34" charset="0"/>
                        </a:rPr>
                        <a:t>R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  <a:cs typeface="Arial" panose="020B0604020202020204" pitchFamily="34" charset="0"/>
                        </a:rPr>
                        <a:t>I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243691"/>
                  </a:ext>
                </a:extLst>
              </a:tr>
              <a:tr h="2781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de-DE" sz="1200" b="1" dirty="0">
                          <a:solidFill>
                            <a:schemeClr val="accent6"/>
                          </a:solidFill>
                          <a:latin typeface="+mn-lt"/>
                          <a:cs typeface="Arial" panose="020B0604020202020204" pitchFamily="34" charset="0"/>
                        </a:rPr>
                        <a:t>Aktivität m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  <a:cs typeface="Arial" panose="020B0604020202020204" pitchFamily="34" charset="0"/>
                        </a:rPr>
                        <a:t>A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accent6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accent6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de-DE" sz="1200" dirty="0">
                        <a:solidFill>
                          <a:schemeClr val="accent6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  <a:cs typeface="Arial" panose="020B0604020202020204" pitchFamily="34" charset="0"/>
                        </a:rPr>
                        <a:t>C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de-DE" sz="1200" dirty="0">
                          <a:solidFill>
                            <a:schemeClr val="accent6"/>
                          </a:solidFill>
                          <a:latin typeface="+mn-lt"/>
                          <a:cs typeface="Arial" panose="020B0604020202020204" pitchFamily="34" charset="0"/>
                        </a:rPr>
                        <a:t>R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9151829"/>
                  </a:ext>
                </a:extLst>
              </a:tr>
            </a:tbl>
          </a:graphicData>
        </a:graphic>
      </p:graphicFrame>
      <p:sp>
        <p:nvSpPr>
          <p:cNvPr id="19" name="Textfeld 7">
            <a:extLst>
              <a:ext uri="{FF2B5EF4-FFF2-40B4-BE49-F238E27FC236}">
                <a16:creationId xmlns:a16="http://schemas.microsoft.com/office/drawing/2014/main" id="{F0FADED0-ACA6-A84B-9490-DE0D30EB722C}"/>
              </a:ext>
            </a:extLst>
          </p:cNvPr>
          <p:cNvSpPr txBox="1"/>
          <p:nvPr/>
        </p:nvSpPr>
        <p:spPr>
          <a:xfrm>
            <a:off x="395536" y="4797739"/>
            <a:ext cx="737092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US" sz="1000" dirty="0">
                <a:solidFill>
                  <a:prstClr val="black"/>
                </a:solidFill>
              </a:rPr>
              <a:t>R…Responsible (</a:t>
            </a:r>
            <a:r>
              <a:rPr lang="de-DE" sz="1000" dirty="0">
                <a:solidFill>
                  <a:prstClr val="black"/>
                </a:solidFill>
              </a:rPr>
              <a:t>verantwortlich</a:t>
            </a:r>
            <a:r>
              <a:rPr lang="en-US" sz="1000" dirty="0">
                <a:solidFill>
                  <a:prstClr val="black"/>
                </a:solidFill>
              </a:rPr>
              <a:t>) | A…Accountable (</a:t>
            </a:r>
            <a:r>
              <a:rPr lang="de-DE" sz="1000" dirty="0">
                <a:solidFill>
                  <a:prstClr val="black"/>
                </a:solidFill>
              </a:rPr>
              <a:t>rechenschaftspflichtig</a:t>
            </a:r>
            <a:r>
              <a:rPr lang="en-US" sz="1000" dirty="0">
                <a:solidFill>
                  <a:prstClr val="black"/>
                </a:solidFill>
              </a:rPr>
              <a:t>) | C…Consulted (</a:t>
            </a:r>
            <a:r>
              <a:rPr lang="de-DE" sz="1000" dirty="0">
                <a:solidFill>
                  <a:prstClr val="black"/>
                </a:solidFill>
              </a:rPr>
              <a:t>konsultiert</a:t>
            </a:r>
            <a:r>
              <a:rPr lang="en-US" sz="1000" dirty="0">
                <a:solidFill>
                  <a:prstClr val="black"/>
                </a:solidFill>
              </a:rPr>
              <a:t>) | I…Informed (</a:t>
            </a:r>
            <a:r>
              <a:rPr lang="de-DE" sz="1000" dirty="0">
                <a:solidFill>
                  <a:prstClr val="black"/>
                </a:solidFill>
              </a:rPr>
              <a:t>informiert</a:t>
            </a:r>
            <a:r>
              <a:rPr lang="en-US" sz="1000" dirty="0">
                <a:solidFill>
                  <a:prstClr val="black"/>
                </a:solidFill>
              </a:rPr>
              <a:t>)</a:t>
            </a:r>
          </a:p>
        </p:txBody>
      </p:sp>
      <p:pic>
        <p:nvPicPr>
          <p:cNvPr id="6" name="Graphic 5" descr="Workflow">
            <a:extLst>
              <a:ext uri="{FF2B5EF4-FFF2-40B4-BE49-F238E27FC236}">
                <a16:creationId xmlns:a16="http://schemas.microsoft.com/office/drawing/2014/main" id="{74620A32-278C-A549-986E-51449099723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4876" y="1079973"/>
            <a:ext cx="270000" cy="27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3208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202977-80CB-8D49-9114-5E34A0AD02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Wie können wir Ihnen helfen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7F89C0-AD47-2F41-ADB5-148CE4D47C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de-DE" dirty="0"/>
              <a:t>Sprechen Sie mit uns über Ihre Themen!</a:t>
            </a:r>
          </a:p>
        </p:txBody>
      </p:sp>
      <p:sp>
        <p:nvSpPr>
          <p:cNvPr id="9" name="Textfeld 7">
            <a:extLst>
              <a:ext uri="{FF2B5EF4-FFF2-40B4-BE49-F238E27FC236}">
                <a16:creationId xmlns:a16="http://schemas.microsoft.com/office/drawing/2014/main" id="{CF9ADDBA-443B-204E-B32A-778FA29DB81E}"/>
              </a:ext>
            </a:extLst>
          </p:cNvPr>
          <p:cNvSpPr txBox="1"/>
          <p:nvPr/>
        </p:nvSpPr>
        <p:spPr>
          <a:xfrm>
            <a:off x="457201" y="2582265"/>
            <a:ext cx="3477234" cy="19620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350" b="1" dirty="0">
                <a:solidFill>
                  <a:schemeClr val="accent6"/>
                </a:solidFill>
              </a:rPr>
              <a:t>Tobias Smuda</a:t>
            </a:r>
          </a:p>
          <a:p>
            <a:r>
              <a:rPr lang="de-DE" sz="1350" dirty="0">
                <a:solidFill>
                  <a:schemeClr val="accent6"/>
                </a:solidFill>
              </a:rPr>
              <a:t>Managing Director</a:t>
            </a:r>
          </a:p>
          <a:p>
            <a:endParaRPr lang="de-DE" sz="1350" dirty="0">
              <a:solidFill>
                <a:schemeClr val="accent6"/>
              </a:solidFill>
            </a:endParaRPr>
          </a:p>
          <a:p>
            <a:endParaRPr lang="de-DE" sz="1350" dirty="0">
              <a:solidFill>
                <a:schemeClr val="accent6"/>
              </a:solidFill>
            </a:endParaRPr>
          </a:p>
          <a:p>
            <a:endParaRPr lang="de-DE" sz="1350" dirty="0">
              <a:solidFill>
                <a:schemeClr val="accent6"/>
              </a:solidFill>
            </a:endParaRPr>
          </a:p>
          <a:p>
            <a:r>
              <a:rPr lang="de-DE" sz="1350" dirty="0">
                <a:solidFill>
                  <a:schemeClr val="accent6"/>
                </a:solidFill>
              </a:rPr>
              <a:t>Palladio Consulting GmbH &amp; Co. KG</a:t>
            </a:r>
          </a:p>
          <a:p>
            <a:r>
              <a:rPr lang="en-US" sz="1350" dirty="0">
                <a:solidFill>
                  <a:schemeClr val="accent6"/>
                </a:solidFill>
              </a:rPr>
              <a:t>Mobil:      +49 (0)173 965 916 9</a:t>
            </a:r>
            <a:endParaRPr lang="de-DE" sz="1350" dirty="0">
              <a:solidFill>
                <a:schemeClr val="accent6"/>
              </a:solidFill>
            </a:endParaRPr>
          </a:p>
          <a:p>
            <a:r>
              <a:rPr lang="de-DE" sz="1350" dirty="0">
                <a:solidFill>
                  <a:schemeClr val="accent6"/>
                </a:solidFill>
              </a:rPr>
              <a:t>E-Mail:     </a:t>
            </a:r>
            <a:r>
              <a:rPr lang="de-DE" sz="1350" dirty="0">
                <a:solidFill>
                  <a:schemeClr val="accent6"/>
                </a:solidFill>
                <a:hlinkClick r:id="rId2"/>
              </a:rPr>
              <a:t>t.smuda@palladio-consulting.de </a:t>
            </a:r>
            <a:endParaRPr lang="de-DE" sz="1350" dirty="0">
              <a:solidFill>
                <a:schemeClr val="accent6"/>
              </a:solidFill>
            </a:endParaRPr>
          </a:p>
          <a:p>
            <a:r>
              <a:rPr lang="de-DE" sz="1350" dirty="0">
                <a:solidFill>
                  <a:schemeClr val="accent6"/>
                </a:solidFill>
              </a:rPr>
              <a:t>Web:        </a:t>
            </a:r>
            <a:r>
              <a:rPr lang="de-DE" sz="1350" dirty="0">
                <a:solidFill>
                  <a:schemeClr val="accent6"/>
                </a:solidFill>
                <a:hlinkClick r:id="rId3"/>
              </a:rPr>
              <a:t>www.palladio-consulting.de</a:t>
            </a:r>
            <a:endParaRPr lang="de-DE" sz="1350" dirty="0">
              <a:solidFill>
                <a:schemeClr val="accent6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274B8FD3-DE57-F04F-8CE3-DD4FB0B74771}"/>
              </a:ext>
            </a:extLst>
          </p:cNvPr>
          <p:cNvSpPr/>
          <p:nvPr/>
        </p:nvSpPr>
        <p:spPr>
          <a:xfrm>
            <a:off x="3347864" y="1099915"/>
            <a:ext cx="5544615" cy="19620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4313" indent="-214313">
              <a:buFont typeface="Wingdings" panose="05000000000000000000" pitchFamily="2" charset="2"/>
              <a:buChar char="Ø"/>
            </a:pPr>
            <a:r>
              <a:rPr lang="de-DE" sz="1350" b="1" dirty="0">
                <a:solidFill>
                  <a:schemeClr val="accent6"/>
                </a:solidFill>
              </a:rPr>
              <a:t>Sie möchten Ihr Business Process Management optimieren?</a:t>
            </a:r>
            <a:br>
              <a:rPr lang="de-DE" sz="1350" b="1" dirty="0">
                <a:solidFill>
                  <a:schemeClr val="accent6"/>
                </a:solidFill>
              </a:rPr>
            </a:br>
            <a:r>
              <a:rPr lang="de-DE" sz="1350" dirty="0">
                <a:solidFill>
                  <a:schemeClr val="accent6"/>
                </a:solidFill>
              </a:rPr>
              <a:t>Gerne beraten wir bei der Initiierung, Vorgehen &amp; Kommunikation.</a:t>
            </a:r>
            <a:br>
              <a:rPr lang="de-DE" sz="1350" dirty="0">
                <a:solidFill>
                  <a:schemeClr val="accent6"/>
                </a:solidFill>
              </a:rPr>
            </a:br>
            <a:endParaRPr lang="de-DE" sz="1350" dirty="0">
              <a:solidFill>
                <a:schemeClr val="accent6"/>
              </a:solidFill>
            </a:endParaRPr>
          </a:p>
          <a:p>
            <a:pPr marL="214313" indent="-214313">
              <a:buFont typeface="Wingdings" panose="05000000000000000000" pitchFamily="2" charset="2"/>
              <a:buChar char="Ø"/>
            </a:pPr>
            <a:r>
              <a:rPr lang="de-DE" sz="1350" b="1" dirty="0">
                <a:solidFill>
                  <a:schemeClr val="accent6"/>
                </a:solidFill>
              </a:rPr>
              <a:t>Sie suchen ein Software-Tool für Ihre Geschäftsprozesse?</a:t>
            </a:r>
            <a:br>
              <a:rPr lang="de-DE" sz="1350" dirty="0">
                <a:solidFill>
                  <a:schemeClr val="accent6"/>
                </a:solidFill>
              </a:rPr>
            </a:br>
            <a:r>
              <a:rPr lang="de-DE" sz="1350" dirty="0">
                <a:solidFill>
                  <a:schemeClr val="accent6"/>
                </a:solidFill>
              </a:rPr>
              <a:t>Auf Basis Ihrer Anforderungen und Randbedingungen identifizieren wir für Sie das optimale Werkzeug.</a:t>
            </a:r>
            <a:br>
              <a:rPr lang="de-DE" sz="1350" dirty="0">
                <a:solidFill>
                  <a:schemeClr val="accent6"/>
                </a:solidFill>
              </a:rPr>
            </a:br>
            <a:endParaRPr lang="de-DE" sz="1350" dirty="0">
              <a:solidFill>
                <a:schemeClr val="accent6"/>
              </a:solidFill>
            </a:endParaRPr>
          </a:p>
          <a:p>
            <a:pPr marL="214313" indent="-214313">
              <a:buFont typeface="Wingdings" panose="05000000000000000000" pitchFamily="2" charset="2"/>
              <a:buChar char="Ø"/>
            </a:pPr>
            <a:r>
              <a:rPr lang="de-DE" sz="1350" b="1" dirty="0">
                <a:solidFill>
                  <a:schemeClr val="accent6"/>
                </a:solidFill>
              </a:rPr>
              <a:t>Sie benötigen Manpower und Fachwissen im Projekt?</a:t>
            </a:r>
            <a:br>
              <a:rPr lang="de-DE" sz="1350" dirty="0">
                <a:solidFill>
                  <a:schemeClr val="accent6"/>
                </a:solidFill>
              </a:rPr>
            </a:br>
            <a:r>
              <a:rPr lang="de-DE" sz="1350" dirty="0">
                <a:solidFill>
                  <a:schemeClr val="accent6"/>
                </a:solidFill>
              </a:rPr>
              <a:t>Wir freuen uns darauf, Ihr Vorhaben zum Erfolg zu bringen.</a:t>
            </a:r>
          </a:p>
        </p:txBody>
      </p:sp>
      <p:pic>
        <p:nvPicPr>
          <p:cNvPr id="3074" name="Picture 2" descr="Tobias Smuda">
            <a:extLst>
              <a:ext uri="{FF2B5EF4-FFF2-40B4-BE49-F238E27FC236}">
                <a16:creationId xmlns:a16="http://schemas.microsoft.com/office/drawing/2014/main" id="{27660698-CB19-914E-9006-16A2AF7F0F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552" y="996222"/>
            <a:ext cx="1441364" cy="151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725199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Fyrum7ZE.QWsxDKTv5z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Fyrum7ZE.QWsxDKTv5z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WwXWUbtEiSLyJ9yHY.p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WwXWUbtEiSLyJ9yHY.p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Fyrum7ZE.QWsxDKTv5z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Fyrum7ZE.QWsxDKTv5z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Fyrum7ZE.QWsxDKTv5z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WwXWUbtEiSLyJ9yHY.p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Fyrum7ZE.QWsxDKTv5z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WwXWUbtEiSLyJ9yHY.p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WwXWUbtEiSLyJ9yHY.p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WwXWUbtEiSLyJ9yHY.p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WwXWUbtEiSLyJ9yHY.p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WwXWUbtEiSLyJ9yHY.pA"/>
</p:tagLst>
</file>

<file path=ppt/theme/theme1.xml><?xml version="1.0" encoding="utf-8"?>
<a:theme xmlns:a="http://schemas.openxmlformats.org/drawingml/2006/main" name="20150716_mosaiic_ppt_vorlage_16-9">
  <a:themeElements>
    <a:clrScheme name="mosaiic">
      <a:dk1>
        <a:srgbClr val="0F3F93"/>
      </a:dk1>
      <a:lt1>
        <a:sysClr val="window" lastClr="FFFFFF"/>
      </a:lt1>
      <a:dk2>
        <a:srgbClr val="7390C4"/>
      </a:dk2>
      <a:lt2>
        <a:srgbClr val="CECECE"/>
      </a:lt2>
      <a:accent1>
        <a:srgbClr val="8878C8"/>
      </a:accent1>
      <a:accent2>
        <a:srgbClr val="00AA72"/>
      </a:accent2>
      <a:accent3>
        <a:srgbClr val="FFC500"/>
      </a:accent3>
      <a:accent4>
        <a:srgbClr val="FF9900"/>
      </a:accent4>
      <a:accent5>
        <a:srgbClr val="C00000"/>
      </a:accent5>
      <a:accent6>
        <a:srgbClr val="4C5861"/>
      </a:accent6>
      <a:hlink>
        <a:srgbClr val="0F3F93"/>
      </a:hlink>
      <a:folHlink>
        <a:srgbClr val="FF990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arrow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äsentation2" id="{9462B410-8345-43D2-AA91-D34F6DAB239B}" vid="{D2DC1740-9005-45C6-833B-154B78348634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2DB87270E14B14ABE35478BAD0FBBC1" ma:contentTypeVersion="10" ma:contentTypeDescription="Create a new document." ma:contentTypeScope="" ma:versionID="51b5da5261e729aa80fb91cdda06a274">
  <xsd:schema xmlns:xsd="http://www.w3.org/2001/XMLSchema" xmlns:xs="http://www.w3.org/2001/XMLSchema" xmlns:p="http://schemas.microsoft.com/office/2006/metadata/properties" xmlns:ns2="7eb85eb2-f6e4-495f-b292-0431dbc8946a" xmlns:ns3="425bf11f-de85-48fa-b6b3-84d83c888ec5" targetNamespace="http://schemas.microsoft.com/office/2006/metadata/properties" ma:root="true" ma:fieldsID="1492626e7e0e53559516c379de8050e1" ns2:_="" ns3:_="">
    <xsd:import namespace="7eb85eb2-f6e4-495f-b292-0431dbc8946a"/>
    <xsd:import namespace="425bf11f-de85-48fa-b6b3-84d83c888ec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eb85eb2-f6e4-495f-b292-0431dbc8946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5bf11f-de85-48fa-b6b3-84d83c888ec5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BCC4545-D46F-4621-835F-ABBC83D6FE6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8405715-1E55-459B-897F-EC9C0245E786}">
  <ds:schemaRefs>
    <ds:schemaRef ds:uri="http://schemas.microsoft.com/office/2006/documentManagement/types"/>
    <ds:schemaRef ds:uri="http://purl.org/dc/dcmitype/"/>
    <ds:schemaRef ds:uri="http://purl.org/dc/elements/1.1/"/>
    <ds:schemaRef ds:uri="http://schemas.microsoft.com/office/infopath/2007/PartnerControls"/>
    <ds:schemaRef ds:uri="7eb85eb2-f6e4-495f-b292-0431dbc8946a"/>
    <ds:schemaRef ds:uri="http://purl.org/dc/terms/"/>
    <ds:schemaRef ds:uri="http://schemas.openxmlformats.org/package/2006/metadata/core-properties"/>
    <ds:schemaRef ds:uri="425bf11f-de85-48fa-b6b3-84d83c888ec5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C5BE7CA-F597-488F-A0B7-C32F5FECB6F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eb85eb2-f6e4-495f-b292-0431dbc8946a"/>
    <ds:schemaRef ds:uri="425bf11f-de85-48fa-b6b3-84d83c888ec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osaiic Folienvorlage mit PBK</Template>
  <TotalTime>1129</TotalTime>
  <Words>358</Words>
  <Application>Microsoft Macintosh PowerPoint</Application>
  <PresentationFormat>On-screen Show (16:9)</PresentationFormat>
  <Paragraphs>93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Arial</vt:lpstr>
      <vt:lpstr>Arial Narrow</vt:lpstr>
      <vt:lpstr>Calibri</vt:lpstr>
      <vt:lpstr>Wingdings</vt:lpstr>
      <vt:lpstr>20150716_mosaiic_ppt_vorlage_16-9</vt:lpstr>
      <vt:lpstr>think-cell Folie</vt:lpstr>
      <vt:lpstr>PowerPoint Presentation</vt:lpstr>
      <vt:lpstr>AKV Profil</vt:lpstr>
      <vt:lpstr>RACI Matrix</vt:lpstr>
      <vt:lpstr>Wie können wir Ihnen helfen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t.smuda@palladio-consulting.de;c.schulz@palladio-consulting.de</dc:creator>
  <cp:lastModifiedBy>Christopher Schulz</cp:lastModifiedBy>
  <cp:revision>137</cp:revision>
  <dcterms:created xsi:type="dcterms:W3CDTF">2016-09-20T12:16:29Z</dcterms:created>
  <dcterms:modified xsi:type="dcterms:W3CDTF">2020-12-02T12:34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2DB87270E14B14ABE35478BAD0FBBC1</vt:lpwstr>
  </property>
</Properties>
</file>